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4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12.xml" ContentType="application/vnd.openxmlformats-officedocument.drawingml.chart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charts/chart20.xml" ContentType="application/vnd.openxmlformats-officedocument.drawingml.chart+xml"/>
  <Override PartName="/ppt/tags/tag427.xml" ContentType="application/vnd.openxmlformats-officedocument.presentationml.tags+xml"/>
  <Override PartName="/ppt/notesSlides/notesSlide8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2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471290" r:id="rId6"/>
    <p:sldId id="2147471289" r:id="rId7"/>
    <p:sldId id="2147471241" r:id="rId8"/>
    <p:sldId id="2147471285" r:id="rId9"/>
    <p:sldId id="2147471282" r:id="rId10"/>
    <p:sldId id="2147471272" r:id="rId11"/>
    <p:sldId id="2147471273" r:id="rId12"/>
    <p:sldId id="2147471274" r:id="rId13"/>
    <p:sldId id="2147471275" r:id="rId14"/>
    <p:sldId id="2147471270" r:id="rId15"/>
    <p:sldId id="2147471288" r:id="rId16"/>
    <p:sldId id="2147471284" r:id="rId17"/>
    <p:sldId id="2147471247" r:id="rId18"/>
    <p:sldId id="2147471291" r:id="rId19"/>
    <p:sldId id="2147375065" r:id="rId20"/>
    <p:sldId id="2147471252" r:id="rId21"/>
    <p:sldId id="2147471280" r:id="rId22"/>
    <p:sldId id="2147471279" r:id="rId23"/>
    <p:sldId id="2147471281" r:id="rId24"/>
    <p:sldId id="2147471276" r:id="rId25"/>
    <p:sldId id="2147471278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9C13DC8E-1ABF-443B-9759-CFA5652D7AE9}">
          <p14:sldIdLst>
            <p14:sldId id="256"/>
          </p14:sldIdLst>
        </p14:section>
        <p14:section name="Introduction" id="{2DBB5889-DB6B-4255-B4CD-DCE521322C4B}">
          <p14:sldIdLst>
            <p14:sldId id="2147471290"/>
          </p14:sldIdLst>
        </p14:section>
        <p14:section name="Question and Background" id="{39050FF7-79F3-412B-9D81-7DF6F08F071A}">
          <p14:sldIdLst>
            <p14:sldId id="2147471289"/>
            <p14:sldId id="2147471241"/>
          </p14:sldIdLst>
        </p14:section>
        <p14:section name="Methodology" id="{B010804A-EE99-4E73-B560-FCAF8279A9C0}">
          <p14:sldIdLst>
            <p14:sldId id="2147471285"/>
            <p14:sldId id="2147471282"/>
          </p14:sldIdLst>
        </p14:section>
        <p14:section name="Results" id="{89F064A8-54E3-4B8A-96D6-E2E3FF123A32}">
          <p14:sldIdLst>
            <p14:sldId id="2147471272"/>
            <p14:sldId id="2147471273"/>
            <p14:sldId id="2147471274"/>
            <p14:sldId id="2147471275"/>
            <p14:sldId id="2147471270"/>
            <p14:sldId id="2147471288"/>
            <p14:sldId id="2147471284"/>
            <p14:sldId id="2147471247"/>
          </p14:sldIdLst>
        </p14:section>
        <p14:section name="Shout-outs" id="{67D0AE81-70E8-4822-8B07-8062D66089F6}">
          <p14:sldIdLst>
            <p14:sldId id="2147471291"/>
            <p14:sldId id="2147375065"/>
            <p14:sldId id="2147471252"/>
            <p14:sldId id="2147471280"/>
            <p14:sldId id="2147471279"/>
            <p14:sldId id="2147471281"/>
            <p14:sldId id="2147471276"/>
            <p14:sldId id="2147471278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5" pos="2736" userDrawn="1">
          <p15:clr>
            <a:srgbClr val="A4A3A4"/>
          </p15:clr>
        </p15:guide>
        <p15:guide id="6" pos="5472" userDrawn="1">
          <p15:clr>
            <a:srgbClr val="A4A3A4"/>
          </p15:clr>
        </p15:guide>
        <p15:guide id="7" pos="288" userDrawn="1">
          <p15:clr>
            <a:srgbClr val="A4A3A4"/>
          </p15:clr>
        </p15:guide>
        <p15:guide id="9" pos="3024" userDrawn="1">
          <p15:clr>
            <a:srgbClr val="A4A3A4"/>
          </p15:clr>
        </p15:guide>
        <p15:guide id="10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5700"/>
    <a:srgbClr val="FFCC00"/>
    <a:srgbClr val="FFFFCC"/>
    <a:srgbClr val="FFCCCC"/>
    <a:srgbClr val="BF9A30"/>
    <a:srgbClr val="D4DDE2"/>
    <a:srgbClr val="FFE100"/>
    <a:srgbClr val="7A868E"/>
    <a:srgbClr val="3D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404" y="68"/>
      </p:cViewPr>
      <p:guideLst>
        <p:guide pos="2880"/>
        <p:guide pos="2736"/>
        <p:guide pos="5472"/>
        <p:guide pos="288"/>
        <p:guide pos="302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68639053254437E-2"/>
          <c:y val="5.6644880174291937E-2"/>
          <c:w val="0.9526627218934911"/>
          <c:h val="0.88671023965141615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16DED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0.50489278845746399</c:v>
                </c:pt>
                <c:pt idx="1">
                  <c:v>0.66380643206659895</c:v>
                </c:pt>
                <c:pt idx="2">
                  <c:v>0.76983857103187803</c:v>
                </c:pt>
                <c:pt idx="3">
                  <c:v>0.81730429788895798</c:v>
                </c:pt>
                <c:pt idx="4">
                  <c:v>0.85133519445106598</c:v>
                </c:pt>
                <c:pt idx="5">
                  <c:v>0.86453619129641801</c:v>
                </c:pt>
                <c:pt idx="6">
                  <c:v>0.87204549236823203</c:v>
                </c:pt>
                <c:pt idx="7">
                  <c:v>0.862178129179423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904-44E3-B5DD-C4D8D71B3F33}"/>
            </c:ext>
          </c:extLst>
        </c:ser>
        <c:ser>
          <c:idx val="1"/>
          <c:order val="1"/>
          <c:spPr>
            <a:ln w="19050" algn="ctr">
              <a:solidFill>
                <a:srgbClr val="FFB265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0.13575184627002099</c:v>
                </c:pt>
                <c:pt idx="1">
                  <c:v>0.20923660334542099</c:v>
                </c:pt>
                <c:pt idx="2">
                  <c:v>0.26810473367472698</c:v>
                </c:pt>
                <c:pt idx="3">
                  <c:v>0.31102742292234498</c:v>
                </c:pt>
                <c:pt idx="4">
                  <c:v>0.362512863588971</c:v>
                </c:pt>
                <c:pt idx="5">
                  <c:v>0.39393840418085202</c:v>
                </c:pt>
                <c:pt idx="6">
                  <c:v>0.41030350480280797</c:v>
                </c:pt>
                <c:pt idx="7">
                  <c:v>0.433074166803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904-44E3-B5DD-C4D8D71B3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582239"/>
        <c:axId val="1"/>
      </c:scatterChart>
      <c:valAx>
        <c:axId val="1106582239"/>
        <c:scaling>
          <c:orientation val="minMax"/>
          <c:max val="2018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  <c:majorUnit val="1"/>
      </c:val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06582239"/>
        <c:crosses val="min"/>
        <c:crossBetween val="midCat"/>
        <c:majorUnit val="0.2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85825027685493E-2"/>
          <c:w val="0.9563758389261745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09433850351434E-2</c:v>
                </c:pt>
                <c:pt idx="1">
                  <c:v>9.5495121444882699E-3</c:v>
                </c:pt>
                <c:pt idx="2">
                  <c:v>7.9183842937216396E-3</c:v>
                </c:pt>
                <c:pt idx="3">
                  <c:v>4.71544233221626E-3</c:v>
                </c:pt>
                <c:pt idx="4">
                  <c:v>5.0120110323556497E-3</c:v>
                </c:pt>
                <c:pt idx="5">
                  <c:v>9.4012277944185794E-3</c:v>
                </c:pt>
                <c:pt idx="6">
                  <c:v>6.8803938432337904E-3</c:v>
                </c:pt>
                <c:pt idx="7">
                  <c:v>5.5754915626204798E-3</c:v>
                </c:pt>
                <c:pt idx="8">
                  <c:v>5.0120110323556497E-3</c:v>
                </c:pt>
                <c:pt idx="9">
                  <c:v>3.70710875174234E-3</c:v>
                </c:pt>
                <c:pt idx="10">
                  <c:v>3.7960793617841599E-3</c:v>
                </c:pt>
                <c:pt idx="11">
                  <c:v>5.7830896527180497E-3</c:v>
                </c:pt>
                <c:pt idx="12">
                  <c:v>3.8850499718259702E-3</c:v>
                </c:pt>
                <c:pt idx="13">
                  <c:v>5.0416679023695798E-3</c:v>
                </c:pt>
                <c:pt idx="14">
                  <c:v>4.7450992022301996E-3</c:v>
                </c:pt>
                <c:pt idx="15">
                  <c:v>5.3382366025089703E-3</c:v>
                </c:pt>
                <c:pt idx="16">
                  <c:v>5.75343278270411E-3</c:v>
                </c:pt>
                <c:pt idx="17">
                  <c:v>1.26931403659658E-2</c:v>
                </c:pt>
                <c:pt idx="18">
                  <c:v>1.1299267475310701E-2</c:v>
                </c:pt>
                <c:pt idx="19">
                  <c:v>1.0024022064711299E-2</c:v>
                </c:pt>
                <c:pt idx="20">
                  <c:v>9.8164239746137208E-3</c:v>
                </c:pt>
                <c:pt idx="21">
                  <c:v>7.7700999436519499E-3</c:v>
                </c:pt>
                <c:pt idx="22">
                  <c:v>8.68946291408405E-3</c:v>
                </c:pt>
                <c:pt idx="23">
                  <c:v>1.02316201548089E-2</c:v>
                </c:pt>
                <c:pt idx="24">
                  <c:v>2.36365254011092E-2</c:v>
                </c:pt>
                <c:pt idx="25">
                  <c:v>4.0956137489249402E-2</c:v>
                </c:pt>
                <c:pt idx="26">
                  <c:v>0.34384175094160602</c:v>
                </c:pt>
                <c:pt idx="27">
                  <c:v>0.16655298199828</c:v>
                </c:pt>
                <c:pt idx="28">
                  <c:v>5.1543640084225503E-2</c:v>
                </c:pt>
                <c:pt idx="29">
                  <c:v>3.57068714967822E-2</c:v>
                </c:pt>
                <c:pt idx="30">
                  <c:v>6.3702956789940396E-2</c:v>
                </c:pt>
                <c:pt idx="31">
                  <c:v>4.8607609952845597E-2</c:v>
                </c:pt>
                <c:pt idx="32">
                  <c:v>6.0796583528574401E-2</c:v>
                </c:pt>
                <c:pt idx="33">
                  <c:v>3.9265695898454897E-2</c:v>
                </c:pt>
                <c:pt idx="34">
                  <c:v>4.1134078709333E-2</c:v>
                </c:pt>
                <c:pt idx="35">
                  <c:v>2.7699516593018801E-2</c:v>
                </c:pt>
                <c:pt idx="36">
                  <c:v>2.10267208398826E-2</c:v>
                </c:pt>
                <c:pt idx="37">
                  <c:v>2.2865446780746802E-2</c:v>
                </c:pt>
                <c:pt idx="38">
                  <c:v>1.18924048755894E-2</c:v>
                </c:pt>
                <c:pt idx="39">
                  <c:v>2.1649515110175301E-2</c:v>
                </c:pt>
                <c:pt idx="40">
                  <c:v>1.8120347578516601E-2</c:v>
                </c:pt>
                <c:pt idx="41">
                  <c:v>1.1447551825380301E-2</c:v>
                </c:pt>
                <c:pt idx="42">
                  <c:v>9.2826003143628207E-3</c:v>
                </c:pt>
                <c:pt idx="43">
                  <c:v>1.6162994157596599E-2</c:v>
                </c:pt>
                <c:pt idx="44">
                  <c:v>3.4787508526350097E-2</c:v>
                </c:pt>
                <c:pt idx="45">
                  <c:v>4.0956137489249402E-2</c:v>
                </c:pt>
                <c:pt idx="46">
                  <c:v>2.5593878822029101E-2</c:v>
                </c:pt>
                <c:pt idx="47">
                  <c:v>2.1115691449924399E-2</c:v>
                </c:pt>
                <c:pt idx="48">
                  <c:v>1.90397105489487E-2</c:v>
                </c:pt>
                <c:pt idx="49">
                  <c:v>1.3315934636258501E-2</c:v>
                </c:pt>
                <c:pt idx="50">
                  <c:v>1.1833091135561601E-2</c:v>
                </c:pt>
                <c:pt idx="51">
                  <c:v>1.5154660577122701E-2</c:v>
                </c:pt>
                <c:pt idx="52">
                  <c:v>1.6845102167917202E-2</c:v>
                </c:pt>
                <c:pt idx="53">
                  <c:v>1.27326828593177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B6-4B2F-8B1E-AD7665E455E5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12108900026691199</c:v>
                </c:pt>
                <c:pt idx="1">
                  <c:v>0.11403066520359401</c:v>
                </c:pt>
                <c:pt idx="2">
                  <c:v>0.119813754856312</c:v>
                </c:pt>
                <c:pt idx="3">
                  <c:v>0.10187134849788</c:v>
                </c:pt>
                <c:pt idx="4">
                  <c:v>0.118419881965657</c:v>
                </c:pt>
                <c:pt idx="5">
                  <c:v>0.109878703401643</c:v>
                </c:pt>
                <c:pt idx="6">
                  <c:v>0.109908360271657</c:v>
                </c:pt>
                <c:pt idx="7">
                  <c:v>0.118568166315727</c:v>
                </c:pt>
                <c:pt idx="8">
                  <c:v>0.110264242711824</c:v>
                </c:pt>
                <c:pt idx="9">
                  <c:v>0.109967674011685</c:v>
                </c:pt>
                <c:pt idx="10">
                  <c:v>0.109344879741392</c:v>
                </c:pt>
                <c:pt idx="11">
                  <c:v>0.106794388920193</c:v>
                </c:pt>
                <c:pt idx="12">
                  <c:v>0.10869242860108499</c:v>
                </c:pt>
                <c:pt idx="13">
                  <c:v>0.11497968504404001</c:v>
                </c:pt>
                <c:pt idx="14">
                  <c:v>0.127465227319909</c:v>
                </c:pt>
                <c:pt idx="15">
                  <c:v>0.13164684599187401</c:v>
                </c:pt>
                <c:pt idx="16">
                  <c:v>0.13398973872297501</c:v>
                </c:pt>
                <c:pt idx="17">
                  <c:v>0.123758118568166</c:v>
                </c:pt>
                <c:pt idx="18">
                  <c:v>0.130519884931344</c:v>
                </c:pt>
                <c:pt idx="19">
                  <c:v>0.13499807230344901</c:v>
                </c:pt>
                <c:pt idx="20">
                  <c:v>0.138853465405261</c:v>
                </c:pt>
                <c:pt idx="21">
                  <c:v>0.138556896705122</c:v>
                </c:pt>
                <c:pt idx="22">
                  <c:v>0.13582846466383899</c:v>
                </c:pt>
                <c:pt idx="23">
                  <c:v>0.16382454995699799</c:v>
                </c:pt>
                <c:pt idx="24">
                  <c:v>0.18313117233607201</c:v>
                </c:pt>
                <c:pt idx="25">
                  <c:v>0.19493460660161899</c:v>
                </c:pt>
                <c:pt idx="26">
                  <c:v>0.29731012188973599</c:v>
                </c:pt>
                <c:pt idx="27">
                  <c:v>0.29819982799015399</c:v>
                </c:pt>
                <c:pt idx="28">
                  <c:v>0.30552507488359698</c:v>
                </c:pt>
                <c:pt idx="29">
                  <c:v>0.31460007710786198</c:v>
                </c:pt>
                <c:pt idx="30">
                  <c:v>0.30792728135472602</c:v>
                </c:pt>
                <c:pt idx="31">
                  <c:v>0.30430914321302499</c:v>
                </c:pt>
                <c:pt idx="32">
                  <c:v>0.289984874996293</c:v>
                </c:pt>
                <c:pt idx="33">
                  <c:v>0.30137311308164499</c:v>
                </c:pt>
                <c:pt idx="34">
                  <c:v>0.307156202734363</c:v>
                </c:pt>
                <c:pt idx="35">
                  <c:v>0.29126012040689198</c:v>
                </c:pt>
                <c:pt idx="36">
                  <c:v>0.314155224057653</c:v>
                </c:pt>
                <c:pt idx="37">
                  <c:v>0.30766036952460002</c:v>
                </c:pt>
                <c:pt idx="38">
                  <c:v>0.36566920727186503</c:v>
                </c:pt>
                <c:pt idx="39">
                  <c:v>0.34342655476140999</c:v>
                </c:pt>
                <c:pt idx="40">
                  <c:v>0.33319493460660199</c:v>
                </c:pt>
                <c:pt idx="41">
                  <c:v>0.34710400664313901</c:v>
                </c:pt>
                <c:pt idx="42">
                  <c:v>0.34778611465345899</c:v>
                </c:pt>
                <c:pt idx="43">
                  <c:v>0.31632017556866998</c:v>
                </c:pt>
                <c:pt idx="44">
                  <c:v>0.31940449005012</c:v>
                </c:pt>
                <c:pt idx="45">
                  <c:v>0.34135057386043499</c:v>
                </c:pt>
                <c:pt idx="46">
                  <c:v>0.31261306681692802</c:v>
                </c:pt>
                <c:pt idx="47">
                  <c:v>0.30371600581274699</c:v>
                </c:pt>
                <c:pt idx="48">
                  <c:v>0.29852605356030698</c:v>
                </c:pt>
                <c:pt idx="49">
                  <c:v>0.27079688009727498</c:v>
                </c:pt>
                <c:pt idx="50">
                  <c:v>0.30152139743171502</c:v>
                </c:pt>
                <c:pt idx="51">
                  <c:v>0.31101159583617499</c:v>
                </c:pt>
                <c:pt idx="52">
                  <c:v>0.292891248257659</c:v>
                </c:pt>
                <c:pt idx="53">
                  <c:v>0.25527645145664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B6-4B2F-8B1E-AD7665E455E5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13203238530205499</c:v>
                </c:pt>
                <c:pt idx="1">
                  <c:v>0.12358017734808301</c:v>
                </c:pt>
                <c:pt idx="2">
                  <c:v>0.12773213915003401</c:v>
                </c:pt>
                <c:pt idx="3">
                  <c:v>0.10658679083009601</c:v>
                </c:pt>
                <c:pt idx="4">
                  <c:v>0.12343189299801299</c:v>
                </c:pt>
                <c:pt idx="5">
                  <c:v>0.11927993119606201</c:v>
                </c:pt>
                <c:pt idx="6">
                  <c:v>0.11678875411489099</c:v>
                </c:pt>
                <c:pt idx="7">
                  <c:v>0.124143657878348</c:v>
                </c:pt>
                <c:pt idx="8">
                  <c:v>0.11527625374418</c:v>
                </c:pt>
                <c:pt idx="9">
                  <c:v>0.113674782763427</c:v>
                </c:pt>
                <c:pt idx="10">
                  <c:v>0.11314095910317599</c:v>
                </c:pt>
                <c:pt idx="11">
                  <c:v>0.11257747857291101</c:v>
                </c:pt>
                <c:pt idx="12">
                  <c:v>0.11257747857291101</c:v>
                </c:pt>
                <c:pt idx="13">
                  <c:v>0.12002135294641</c:v>
                </c:pt>
                <c:pt idx="14">
                  <c:v>0.13221032652213899</c:v>
                </c:pt>
                <c:pt idx="15">
                  <c:v>0.136985082594383</c:v>
                </c:pt>
                <c:pt idx="16">
                  <c:v>0.139743171505679</c:v>
                </c:pt>
                <c:pt idx="17">
                  <c:v>0.13645125893413201</c:v>
                </c:pt>
                <c:pt idx="18">
                  <c:v>0.14181915240665499</c:v>
                </c:pt>
                <c:pt idx="19">
                  <c:v>0.14502209436815999</c:v>
                </c:pt>
                <c:pt idx="20">
                  <c:v>0.14866988937987499</c:v>
                </c:pt>
                <c:pt idx="21">
                  <c:v>0.14632699664877399</c:v>
                </c:pt>
                <c:pt idx="22">
                  <c:v>0.14451792757792301</c:v>
                </c:pt>
                <c:pt idx="23">
                  <c:v>0.17405617011180599</c:v>
                </c:pt>
                <c:pt idx="24">
                  <c:v>0.20676769773718101</c:v>
                </c:pt>
                <c:pt idx="25">
                  <c:v>0.23589074409086899</c:v>
                </c:pt>
                <c:pt idx="26">
                  <c:v>0.64115187283134101</c:v>
                </c:pt>
                <c:pt idx="27">
                  <c:v>0.46475280998843399</c:v>
                </c:pt>
                <c:pt idx="28">
                  <c:v>0.357068714967822</c:v>
                </c:pt>
                <c:pt idx="29">
                  <c:v>0.35030694860464401</c:v>
                </c:pt>
                <c:pt idx="30">
                  <c:v>0.371630238144666</c:v>
                </c:pt>
                <c:pt idx="31">
                  <c:v>0.35291675316587101</c:v>
                </c:pt>
                <c:pt idx="32">
                  <c:v>0.35078145852486697</c:v>
                </c:pt>
                <c:pt idx="33">
                  <c:v>0.34063880898010002</c:v>
                </c:pt>
                <c:pt idx="34">
                  <c:v>0.348290281443696</c:v>
                </c:pt>
                <c:pt idx="35">
                  <c:v>0.31895963699991098</c:v>
                </c:pt>
                <c:pt idx="36">
                  <c:v>0.335181944897535</c:v>
                </c:pt>
                <c:pt idx="37">
                  <c:v>0.330525816305347</c:v>
                </c:pt>
                <c:pt idx="38">
                  <c:v>0.37756161214745398</c:v>
                </c:pt>
                <c:pt idx="39">
                  <c:v>0.36507606987158597</c:v>
                </c:pt>
                <c:pt idx="40">
                  <c:v>0.35131528218511798</c:v>
                </c:pt>
                <c:pt idx="41">
                  <c:v>0.35855155846851899</c:v>
                </c:pt>
                <c:pt idx="42">
                  <c:v>0.357068714967822</c:v>
                </c:pt>
                <c:pt idx="43">
                  <c:v>0.33248316972626701</c:v>
                </c:pt>
                <c:pt idx="44">
                  <c:v>0.35419199857646999</c:v>
                </c:pt>
                <c:pt idx="45">
                  <c:v>0.38230671134968403</c:v>
                </c:pt>
                <c:pt idx="46">
                  <c:v>0.33820694563895698</c:v>
                </c:pt>
                <c:pt idx="47">
                  <c:v>0.32483169726267103</c:v>
                </c:pt>
                <c:pt idx="48">
                  <c:v>0.31756576410925602</c:v>
                </c:pt>
                <c:pt idx="49">
                  <c:v>0.284112814733533</c:v>
                </c:pt>
                <c:pt idx="50">
                  <c:v>0.31335448856727699</c:v>
                </c:pt>
                <c:pt idx="51">
                  <c:v>0.32616625641329799</c:v>
                </c:pt>
                <c:pt idx="52">
                  <c:v>0.30973635042557601</c:v>
                </c:pt>
                <c:pt idx="53">
                  <c:v>0.268009134315964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B6-4B2F-8B1E-AD7665E45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53-42B7-9E9F-14E20A19512A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253-42B7-9E9F-14E20A19512A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253-42B7-9E9F-14E20A195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6248273139925E-2"/>
          <c:y val="2.6289180990899899E-2"/>
          <c:w val="0.97947503453720153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8AD5-4723-870C-A8F4231F173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8AD5-4723-870C-A8F4231F173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8AD5-4723-870C-A8F4231F17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289180990899899E-2"/>
          <c:w val="0.97965969098376682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D842-4FD2-BF2B-6A5DC1700A5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D842-4FD2-BF2B-6A5DC1700A5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D842-4FD2-BF2B-6A5DC1700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4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9D9-486F-8A20-86A16A368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9D9-486F-8A20-86A16A368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9D9-486F-8A20-86A16A368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31418571428571401</c:v>
                </c:pt>
                <c:pt idx="27">
                  <c:v>0.18329999999999999</c:v>
                </c:pt>
                <c:pt idx="28">
                  <c:v>5.2850000000000001E-2</c:v>
                </c:pt>
                <c:pt idx="29">
                  <c:v>4.6528571428571398E-2</c:v>
                </c:pt>
                <c:pt idx="30">
                  <c:v>9.3064285714285697E-2</c:v>
                </c:pt>
                <c:pt idx="31">
                  <c:v>6.7021428571428607E-2</c:v>
                </c:pt>
                <c:pt idx="32">
                  <c:v>8.6971428571428602E-2</c:v>
                </c:pt>
                <c:pt idx="33">
                  <c:v>6.1442857142857098E-2</c:v>
                </c:pt>
                <c:pt idx="34">
                  <c:v>5.8200000000000002E-2</c:v>
                </c:pt>
                <c:pt idx="35">
                  <c:v>3.0242857142857099E-2</c:v>
                </c:pt>
                <c:pt idx="36">
                  <c:v>3.0607142857142899E-2</c:v>
                </c:pt>
                <c:pt idx="37">
                  <c:v>2.9649999999999999E-2</c:v>
                </c:pt>
                <c:pt idx="38">
                  <c:v>1.6292857142857099E-2</c:v>
                </c:pt>
                <c:pt idx="39">
                  <c:v>2.2957142857142902E-2</c:v>
                </c:pt>
                <c:pt idx="40">
                  <c:v>1.81285714285714E-2</c:v>
                </c:pt>
                <c:pt idx="41">
                  <c:v>1.8878571428571401E-2</c:v>
                </c:pt>
                <c:pt idx="42">
                  <c:v>1.7600000000000001E-2</c:v>
                </c:pt>
                <c:pt idx="43">
                  <c:v>2.54571428571429E-2</c:v>
                </c:pt>
                <c:pt idx="44">
                  <c:v>3.3271428571428598E-2</c:v>
                </c:pt>
                <c:pt idx="45">
                  <c:v>4.9928571428571399E-2</c:v>
                </c:pt>
                <c:pt idx="46">
                  <c:v>2.4549999999999999E-2</c:v>
                </c:pt>
                <c:pt idx="47">
                  <c:v>1.7649999999999999E-2</c:v>
                </c:pt>
                <c:pt idx="48">
                  <c:v>1.66928571428571E-2</c:v>
                </c:pt>
                <c:pt idx="49">
                  <c:v>1.57428571428571E-2</c:v>
                </c:pt>
                <c:pt idx="50">
                  <c:v>1.58357142857143E-2</c:v>
                </c:pt>
                <c:pt idx="51">
                  <c:v>1.48642857142857E-2</c:v>
                </c:pt>
                <c:pt idx="52">
                  <c:v>1.4885714285714301E-2</c:v>
                </c:pt>
                <c:pt idx="53">
                  <c:v>1.4183333333333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BE-4C31-91CF-C4077B3E7224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07337142857143</c:v>
                </c:pt>
                <c:pt idx="27">
                  <c:v>1.0004142857142899</c:v>
                </c:pt>
                <c:pt idx="28">
                  <c:v>1.032</c:v>
                </c:pt>
                <c:pt idx="29">
                  <c:v>1.0340428571428599</c:v>
                </c:pt>
                <c:pt idx="30">
                  <c:v>1.01476428571429</c:v>
                </c:pt>
                <c:pt idx="31">
                  <c:v>1.00217142857143</c:v>
                </c:pt>
                <c:pt idx="32">
                  <c:v>0.96631428571428601</c:v>
                </c:pt>
                <c:pt idx="33">
                  <c:v>1.01248571428571</c:v>
                </c:pt>
                <c:pt idx="34">
                  <c:v>0.989614285714286</c:v>
                </c:pt>
                <c:pt idx="35">
                  <c:v>0.92330000000000001</c:v>
                </c:pt>
                <c:pt idx="36">
                  <c:v>0.99849285714285696</c:v>
                </c:pt>
                <c:pt idx="37">
                  <c:v>0.99675714285714301</c:v>
                </c:pt>
                <c:pt idx="38">
                  <c:v>1.0165999999999999</c:v>
                </c:pt>
                <c:pt idx="39">
                  <c:v>1.02599285714286</c:v>
                </c:pt>
                <c:pt idx="40">
                  <c:v>0.96415714285714305</c:v>
                </c:pt>
                <c:pt idx="41">
                  <c:v>0.95928571428571396</c:v>
                </c:pt>
                <c:pt idx="42">
                  <c:v>1.01734285714286</c:v>
                </c:pt>
                <c:pt idx="43">
                  <c:v>0.96735000000000004</c:v>
                </c:pt>
                <c:pt idx="44">
                  <c:v>0.958271428571429</c:v>
                </c:pt>
                <c:pt idx="45">
                  <c:v>0.988471428571429</c:v>
                </c:pt>
                <c:pt idx="46">
                  <c:v>0.98577857142857095</c:v>
                </c:pt>
                <c:pt idx="47">
                  <c:v>0.94812857142857099</c:v>
                </c:pt>
                <c:pt idx="48">
                  <c:v>0.93933571428571405</c:v>
                </c:pt>
                <c:pt idx="49">
                  <c:v>0.82241428571428599</c:v>
                </c:pt>
                <c:pt idx="50">
                  <c:v>0.89084285714285705</c:v>
                </c:pt>
                <c:pt idx="51">
                  <c:v>0.892007142857143</c:v>
                </c:pt>
                <c:pt idx="52">
                  <c:v>0.87532142857142903</c:v>
                </c:pt>
                <c:pt idx="53">
                  <c:v>0.8536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BE-4C31-91CF-C4077B3E7224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38755714285714</c:v>
                </c:pt>
                <c:pt idx="27">
                  <c:v>1.1837142857142899</c:v>
                </c:pt>
                <c:pt idx="28">
                  <c:v>1.0848500000000001</c:v>
                </c:pt>
                <c:pt idx="29">
                  <c:v>1.0805714285714301</c:v>
                </c:pt>
                <c:pt idx="30">
                  <c:v>1.1078285714285701</c:v>
                </c:pt>
                <c:pt idx="31">
                  <c:v>1.0691928571428599</c:v>
                </c:pt>
                <c:pt idx="32">
                  <c:v>1.0532857142857099</c:v>
                </c:pt>
                <c:pt idx="33">
                  <c:v>1.07392857142857</c:v>
                </c:pt>
                <c:pt idx="34">
                  <c:v>1.04781428571429</c:v>
                </c:pt>
                <c:pt idx="35">
                  <c:v>0.95354285714285703</c:v>
                </c:pt>
                <c:pt idx="36">
                  <c:v>1.0290999999999999</c:v>
                </c:pt>
                <c:pt idx="37">
                  <c:v>1.02640714285714</c:v>
                </c:pt>
                <c:pt idx="38">
                  <c:v>1.0328928571428599</c:v>
                </c:pt>
                <c:pt idx="39">
                  <c:v>1.04895</c:v>
                </c:pt>
                <c:pt idx="40">
                  <c:v>0.98228571428571398</c:v>
                </c:pt>
                <c:pt idx="41">
                  <c:v>0.97816428571428604</c:v>
                </c:pt>
                <c:pt idx="42">
                  <c:v>1.0349428571428601</c:v>
                </c:pt>
                <c:pt idx="43">
                  <c:v>0.992807142857143</c:v>
                </c:pt>
                <c:pt idx="44">
                  <c:v>0.99154285714285695</c:v>
                </c:pt>
                <c:pt idx="45">
                  <c:v>1.0384</c:v>
                </c:pt>
                <c:pt idx="46">
                  <c:v>1.0103285714285699</c:v>
                </c:pt>
                <c:pt idx="47">
                  <c:v>0.96577857142857104</c:v>
                </c:pt>
                <c:pt idx="48">
                  <c:v>0.95602857142857101</c:v>
                </c:pt>
                <c:pt idx="49">
                  <c:v>0.83815714285714304</c:v>
                </c:pt>
                <c:pt idx="50">
                  <c:v>0.906678571428571</c:v>
                </c:pt>
                <c:pt idx="51">
                  <c:v>0.90687142857142899</c:v>
                </c:pt>
                <c:pt idx="52">
                  <c:v>0.89020714285714297</c:v>
                </c:pt>
                <c:pt idx="53">
                  <c:v>0.867783333333333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CBE-4C31-91CF-C4077B3E7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36200317522213E-2</c:v>
                </c:pt>
                <c:pt idx="1">
                  <c:v>1.3592178926552101E-2</c:v>
                </c:pt>
                <c:pt idx="2">
                  <c:v>9.4699607275158092E-3</c:v>
                </c:pt>
                <c:pt idx="3">
                  <c:v>8.3837005264183993E-3</c:v>
                </c:pt>
                <c:pt idx="4">
                  <c:v>9.1078739938166703E-3</c:v>
                </c:pt>
                <c:pt idx="5">
                  <c:v>1.52076428153636E-2</c:v>
                </c:pt>
                <c:pt idx="6">
                  <c:v>8.6343759574408797E-3</c:v>
                </c:pt>
                <c:pt idx="7">
                  <c:v>1.02776926719216E-2</c:v>
                </c:pt>
                <c:pt idx="8">
                  <c:v>8.4394061777567295E-3</c:v>
                </c:pt>
                <c:pt idx="9">
                  <c:v>5.3477425284795101E-3</c:v>
                </c:pt>
                <c:pt idx="10">
                  <c:v>6.2947386012310903E-3</c:v>
                </c:pt>
                <c:pt idx="11">
                  <c:v>9.2471381221624904E-3</c:v>
                </c:pt>
                <c:pt idx="12">
                  <c:v>8.91290421413252E-3</c:v>
                </c:pt>
                <c:pt idx="13">
                  <c:v>7.3252931509901701E-3</c:v>
                </c:pt>
                <c:pt idx="14">
                  <c:v>7.7152327103584698E-3</c:v>
                </c:pt>
                <c:pt idx="15">
                  <c:v>9.5256663788541307E-3</c:v>
                </c:pt>
                <c:pt idx="16">
                  <c:v>1.16424811297106E-2</c:v>
                </c:pt>
                <c:pt idx="17">
                  <c:v>1.8884215803693299E-2</c:v>
                </c:pt>
                <c:pt idx="18">
                  <c:v>2.0388268389828101E-2</c:v>
                </c:pt>
                <c:pt idx="19">
                  <c:v>1.63496086677993E-2</c:v>
                </c:pt>
                <c:pt idx="20">
                  <c:v>1.39542656602512E-2</c:v>
                </c:pt>
                <c:pt idx="21">
                  <c:v>1.46784391276495E-2</c:v>
                </c:pt>
                <c:pt idx="22">
                  <c:v>1.4594880650642E-2</c:v>
                </c:pt>
                <c:pt idx="23">
                  <c:v>1.4204941091273701E-2</c:v>
                </c:pt>
                <c:pt idx="24">
                  <c:v>3.4788179260785999E-2</c:v>
                </c:pt>
                <c:pt idx="25">
                  <c:v>7.9102024900426102E-2</c:v>
                </c:pt>
                <c:pt idx="26">
                  <c:v>0.30961201013842898</c:v>
                </c:pt>
                <c:pt idx="27">
                  <c:v>0.11603487173773799</c:v>
                </c:pt>
                <c:pt idx="28">
                  <c:v>4.53165473637301E-2</c:v>
                </c:pt>
                <c:pt idx="29">
                  <c:v>3.0303874328050599E-2</c:v>
                </c:pt>
                <c:pt idx="30">
                  <c:v>7.1442497841405994E-2</c:v>
                </c:pt>
                <c:pt idx="31">
                  <c:v>5.1611285964961097E-2</c:v>
                </c:pt>
                <c:pt idx="32">
                  <c:v>4.7461214940255701E-2</c:v>
                </c:pt>
                <c:pt idx="33">
                  <c:v>2.6432331560036802E-2</c:v>
                </c:pt>
                <c:pt idx="34">
                  <c:v>2.63209202573601E-2</c:v>
                </c:pt>
                <c:pt idx="35">
                  <c:v>1.27844469821463E-2</c:v>
                </c:pt>
                <c:pt idx="36">
                  <c:v>9.6927833328691194E-3</c:v>
                </c:pt>
                <c:pt idx="37">
                  <c:v>1.5096231512687E-2</c:v>
                </c:pt>
                <c:pt idx="38">
                  <c:v>7.5759685820126496E-3</c:v>
                </c:pt>
                <c:pt idx="39">
                  <c:v>1.0723337882628199E-2</c:v>
                </c:pt>
                <c:pt idx="40">
                  <c:v>1.0695485056958999E-2</c:v>
                </c:pt>
                <c:pt idx="41">
                  <c:v>7.3252931509901701E-3</c:v>
                </c:pt>
                <c:pt idx="42">
                  <c:v>7.1581761969751797E-3</c:v>
                </c:pt>
                <c:pt idx="43">
                  <c:v>8.8571985627942003E-3</c:v>
                </c:pt>
                <c:pt idx="44">
                  <c:v>1.4177088265604499E-2</c:v>
                </c:pt>
                <c:pt idx="45">
                  <c:v>1.8884215803693299E-2</c:v>
                </c:pt>
                <c:pt idx="46">
                  <c:v>1.64053143191377E-2</c:v>
                </c:pt>
                <c:pt idx="47">
                  <c:v>1.49848202100103E-2</c:v>
                </c:pt>
                <c:pt idx="48">
                  <c:v>9.4421079018466407E-3</c:v>
                </c:pt>
                <c:pt idx="49">
                  <c:v>8.1887307467342595E-3</c:v>
                </c:pt>
                <c:pt idx="50">
                  <c:v>8.4951118290950596E-3</c:v>
                </c:pt>
                <c:pt idx="51">
                  <c:v>5.2920368771411904E-3</c:v>
                </c:pt>
                <c:pt idx="52">
                  <c:v>7.9380553157117808E-3</c:v>
                </c:pt>
                <c:pt idx="53">
                  <c:v>6.1090530967699997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D3-4032-95CA-8A47AF6B07E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4.1417151770047102E-2</c:v>
                </c:pt>
                <c:pt idx="1">
                  <c:v>3.3005598417959497E-2</c:v>
                </c:pt>
                <c:pt idx="2">
                  <c:v>3.4314681224410198E-2</c:v>
                </c:pt>
                <c:pt idx="3">
                  <c:v>3.1863632565523797E-2</c:v>
                </c:pt>
                <c:pt idx="4">
                  <c:v>3.2114307996546201E-2</c:v>
                </c:pt>
                <c:pt idx="5">
                  <c:v>3.1334428877809697E-2</c:v>
                </c:pt>
                <c:pt idx="6">
                  <c:v>2.7156505027435E-2</c:v>
                </c:pt>
                <c:pt idx="7">
                  <c:v>3.3534802105673597E-2</c:v>
                </c:pt>
                <c:pt idx="8">
                  <c:v>2.8660557613569899E-2</c:v>
                </c:pt>
                <c:pt idx="9">
                  <c:v>2.9468289557975699E-2</c:v>
                </c:pt>
                <c:pt idx="10">
                  <c:v>2.9106202824276499E-2</c:v>
                </c:pt>
                <c:pt idx="11">
                  <c:v>2.8771968916246601E-2</c:v>
                </c:pt>
                <c:pt idx="12">
                  <c:v>3.0972342144110501E-2</c:v>
                </c:pt>
                <c:pt idx="13">
                  <c:v>3.01924630253739E-2</c:v>
                </c:pt>
                <c:pt idx="14">
                  <c:v>3.3228421023312797E-2</c:v>
                </c:pt>
                <c:pt idx="15">
                  <c:v>3.1863632565523797E-2</c:v>
                </c:pt>
                <c:pt idx="16">
                  <c:v>3.7462050525025797E-2</c:v>
                </c:pt>
                <c:pt idx="17">
                  <c:v>3.4453945352755998E-2</c:v>
                </c:pt>
                <c:pt idx="18">
                  <c:v>3.5679469682199302E-2</c:v>
                </c:pt>
                <c:pt idx="19">
                  <c:v>3.7851990084394098E-2</c:v>
                </c:pt>
                <c:pt idx="20">
                  <c:v>3.8826838982814797E-2</c:v>
                </c:pt>
                <c:pt idx="21">
                  <c:v>3.9439601147536398E-2</c:v>
                </c:pt>
                <c:pt idx="22">
                  <c:v>3.94117483218673E-2</c:v>
                </c:pt>
                <c:pt idx="23">
                  <c:v>4.3366849566888598E-2</c:v>
                </c:pt>
                <c:pt idx="24">
                  <c:v>4.9578029691112198E-2</c:v>
                </c:pt>
                <c:pt idx="25">
                  <c:v>4.9605882516781302E-2</c:v>
                </c:pt>
                <c:pt idx="26">
                  <c:v>0.13815001531905399</c:v>
                </c:pt>
                <c:pt idx="27">
                  <c:v>0.11497646436231</c:v>
                </c:pt>
                <c:pt idx="28">
                  <c:v>0.119516474946383</c:v>
                </c:pt>
                <c:pt idx="29">
                  <c:v>0.18705957719410601</c:v>
                </c:pt>
                <c:pt idx="30">
                  <c:v>0.20193298610144</c:v>
                </c:pt>
                <c:pt idx="31">
                  <c:v>9.5368075091218002E-2</c:v>
                </c:pt>
                <c:pt idx="32">
                  <c:v>0.102554104113862</c:v>
                </c:pt>
                <c:pt idx="33">
                  <c:v>0.10723337882628201</c:v>
                </c:pt>
                <c:pt idx="34">
                  <c:v>0.119655739074729</c:v>
                </c:pt>
                <c:pt idx="35">
                  <c:v>8.8014929114558701E-2</c:v>
                </c:pt>
                <c:pt idx="36">
                  <c:v>9.6537893769322897E-2</c:v>
                </c:pt>
                <c:pt idx="37">
                  <c:v>9.4978135531849694E-2</c:v>
                </c:pt>
                <c:pt idx="38">
                  <c:v>0.117511071498203</c:v>
                </c:pt>
                <c:pt idx="39">
                  <c:v>0.109795838787845</c:v>
                </c:pt>
                <c:pt idx="40">
                  <c:v>0.117260396067181</c:v>
                </c:pt>
                <c:pt idx="41">
                  <c:v>0.12706459070272699</c:v>
                </c:pt>
                <c:pt idx="42">
                  <c:v>0.120602735147481</c:v>
                </c:pt>
                <c:pt idx="43">
                  <c:v>0.111940506364371</c:v>
                </c:pt>
                <c:pt idx="44">
                  <c:v>0.105673620588809</c:v>
                </c:pt>
                <c:pt idx="45">
                  <c:v>0.16352393950366301</c:v>
                </c:pt>
                <c:pt idx="46">
                  <c:v>0.144834693479653</c:v>
                </c:pt>
                <c:pt idx="47">
                  <c:v>0.13294153691891999</c:v>
                </c:pt>
                <c:pt idx="48">
                  <c:v>0.11274823830877601</c:v>
                </c:pt>
                <c:pt idx="49">
                  <c:v>9.4894577054842194E-2</c:v>
                </c:pt>
                <c:pt idx="50">
                  <c:v>0.11324958917082099</c:v>
                </c:pt>
                <c:pt idx="51">
                  <c:v>0.111021363117288</c:v>
                </c:pt>
                <c:pt idx="52">
                  <c:v>9.9657410244269301E-2</c:v>
                </c:pt>
                <c:pt idx="53">
                  <c:v>9.020601806719960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0D3-4032-95CA-8A47AF6B07E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5.5037183522268301E-2</c:v>
                </c:pt>
                <c:pt idx="1">
                  <c:v>4.65977773445116E-2</c:v>
                </c:pt>
                <c:pt idx="2">
                  <c:v>4.3784641951926002E-2</c:v>
                </c:pt>
                <c:pt idx="3">
                  <c:v>4.02473330919422E-2</c:v>
                </c:pt>
                <c:pt idx="4">
                  <c:v>4.1222181990362899E-2</c:v>
                </c:pt>
                <c:pt idx="5">
                  <c:v>4.6542071693173301E-2</c:v>
                </c:pt>
                <c:pt idx="6">
                  <c:v>3.57908809848759E-2</c:v>
                </c:pt>
                <c:pt idx="7">
                  <c:v>4.3812494777595197E-2</c:v>
                </c:pt>
                <c:pt idx="8">
                  <c:v>3.7099963791326601E-2</c:v>
                </c:pt>
                <c:pt idx="9">
                  <c:v>3.4816032086455201E-2</c:v>
                </c:pt>
                <c:pt idx="10">
                  <c:v>3.54009414255076E-2</c:v>
                </c:pt>
                <c:pt idx="11">
                  <c:v>3.8019107038409002E-2</c:v>
                </c:pt>
                <c:pt idx="12">
                  <c:v>3.9885246358242997E-2</c:v>
                </c:pt>
                <c:pt idx="13">
                  <c:v>3.7517756176364103E-2</c:v>
                </c:pt>
                <c:pt idx="14">
                  <c:v>4.0943653733671301E-2</c:v>
                </c:pt>
                <c:pt idx="15">
                  <c:v>4.13892989443779E-2</c:v>
                </c:pt>
                <c:pt idx="16">
                  <c:v>4.9104531654736397E-2</c:v>
                </c:pt>
                <c:pt idx="17">
                  <c:v>5.33381611564493E-2</c:v>
                </c:pt>
                <c:pt idx="18">
                  <c:v>5.6067738072027397E-2</c:v>
                </c:pt>
                <c:pt idx="19">
                  <c:v>5.4201598752193401E-2</c:v>
                </c:pt>
                <c:pt idx="20">
                  <c:v>5.2781104643065999E-2</c:v>
                </c:pt>
                <c:pt idx="21">
                  <c:v>5.4118040275185901E-2</c:v>
                </c:pt>
                <c:pt idx="22">
                  <c:v>5.4006628972509303E-2</c:v>
                </c:pt>
                <c:pt idx="23">
                  <c:v>5.75717906581623E-2</c:v>
                </c:pt>
                <c:pt idx="24">
                  <c:v>8.4366208951898197E-2</c:v>
                </c:pt>
                <c:pt idx="25">
                  <c:v>0.128707907417207</c:v>
                </c:pt>
                <c:pt idx="26">
                  <c:v>0.447762025457483</c:v>
                </c:pt>
                <c:pt idx="27">
                  <c:v>0.23101133610004701</c:v>
                </c:pt>
                <c:pt idx="28">
                  <c:v>0.16483302231011299</c:v>
                </c:pt>
                <c:pt idx="29">
                  <c:v>0.217363451522157</c:v>
                </c:pt>
                <c:pt idx="30">
                  <c:v>0.273375483942846</c:v>
                </c:pt>
                <c:pt idx="31">
                  <c:v>0.14697936105617901</c:v>
                </c:pt>
                <c:pt idx="32">
                  <c:v>0.150015319054118</c:v>
                </c:pt>
                <c:pt idx="33">
                  <c:v>0.133665710386319</c:v>
                </c:pt>
                <c:pt idx="34">
                  <c:v>0.145976659332089</c:v>
                </c:pt>
                <c:pt idx="35">
                  <c:v>0.100799376096705</c:v>
                </c:pt>
                <c:pt idx="36">
                  <c:v>0.106230677102192</c:v>
                </c:pt>
                <c:pt idx="37">
                  <c:v>0.11007436704453701</c:v>
                </c:pt>
                <c:pt idx="38">
                  <c:v>0.12508704008021601</c:v>
                </c:pt>
                <c:pt idx="39">
                  <c:v>0.120519176670473</c:v>
                </c:pt>
                <c:pt idx="40">
                  <c:v>0.12795588112414</c:v>
                </c:pt>
                <c:pt idx="41">
                  <c:v>0.134389883853717</c:v>
                </c:pt>
                <c:pt idx="42">
                  <c:v>0.127760911344456</c:v>
                </c:pt>
                <c:pt idx="43">
                  <c:v>0.120797704927165</c:v>
                </c:pt>
                <c:pt idx="44">
                  <c:v>0.119850708854413</c:v>
                </c:pt>
                <c:pt idx="45">
                  <c:v>0.18240815530735599</c:v>
                </c:pt>
                <c:pt idx="46">
                  <c:v>0.161240007798791</c:v>
                </c:pt>
                <c:pt idx="47">
                  <c:v>0.14792635712893101</c:v>
                </c:pt>
                <c:pt idx="48">
                  <c:v>0.122190346210623</c:v>
                </c:pt>
                <c:pt idx="49">
                  <c:v>0.103083307801576</c:v>
                </c:pt>
                <c:pt idx="50">
                  <c:v>0.12174470099991599</c:v>
                </c:pt>
                <c:pt idx="51">
                  <c:v>0.116313399994429</c:v>
                </c:pt>
                <c:pt idx="52">
                  <c:v>0.10759546555998099</c:v>
                </c:pt>
                <c:pt idx="53">
                  <c:v>9.631507116396960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0D3-4032-95CA-8A47AF6B0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56382400869092897</c:v>
                </c:pt>
                <c:pt idx="1">
                  <c:v>0.61211012321678704</c:v>
                </c:pt>
                <c:pt idx="2">
                  <c:v>0.54404071014037003</c:v>
                </c:pt>
                <c:pt idx="3">
                  <c:v>0.41564938963378001</c:v>
                </c:pt>
                <c:pt idx="4">
                  <c:v>0.51136396123388295</c:v>
                </c:pt>
                <c:pt idx="5">
                  <c:v>0.74104462677606597</c:v>
                </c:pt>
                <c:pt idx="6">
                  <c:v>0.568541124674805</c:v>
                </c:pt>
                <c:pt idx="7">
                  <c:v>0.58758112010063202</c:v>
                </c:pt>
                <c:pt idx="8">
                  <c:v>0.555276022756511</c:v>
                </c:pt>
                <c:pt idx="9">
                  <c:v>0.51116384116183999</c:v>
                </c:pt>
                <c:pt idx="10">
                  <c:v>0.53452071242745602</c:v>
                </c:pt>
                <c:pt idx="11">
                  <c:v>0.52720203550701805</c:v>
                </c:pt>
                <c:pt idx="12">
                  <c:v>0.51871122673604197</c:v>
                </c:pt>
                <c:pt idx="13">
                  <c:v>0.50441693587581105</c:v>
                </c:pt>
                <c:pt idx="14">
                  <c:v>0.55287458189199201</c:v>
                </c:pt>
                <c:pt idx="15">
                  <c:v>0.61634123331141499</c:v>
                </c:pt>
                <c:pt idx="16">
                  <c:v>0.62265930987163698</c:v>
                </c:pt>
                <c:pt idx="17">
                  <c:v>0.73758540838789</c:v>
                </c:pt>
                <c:pt idx="18">
                  <c:v>0.75894107893307405</c:v>
                </c:pt>
                <c:pt idx="19">
                  <c:v>0.72978072557820395</c:v>
                </c:pt>
                <c:pt idx="20">
                  <c:v>0.69072872294805499</c:v>
                </c:pt>
                <c:pt idx="21">
                  <c:v>0.63126447296949595</c:v>
                </c:pt>
                <c:pt idx="22">
                  <c:v>0.55210269018554003</c:v>
                </c:pt>
                <c:pt idx="23">
                  <c:v>0.68163755396094805</c:v>
                </c:pt>
                <c:pt idx="24">
                  <c:v>0.84670802481488905</c:v>
                </c:pt>
                <c:pt idx="25">
                  <c:v>0.92890019726121398</c:v>
                </c:pt>
                <c:pt idx="26">
                  <c:v>2.2765087624003</c:v>
                </c:pt>
                <c:pt idx="27">
                  <c:v>1.3388318705508999</c:v>
                </c:pt>
                <c:pt idx="28">
                  <c:v>0.68332428028245495</c:v>
                </c:pt>
                <c:pt idx="29">
                  <c:v>0.46170559478544299</c:v>
                </c:pt>
                <c:pt idx="30">
                  <c:v>0.59058292118127997</c:v>
                </c:pt>
                <c:pt idx="31">
                  <c:v>0.48111724177363602</c:v>
                </c:pt>
                <c:pt idx="32">
                  <c:v>0.459418508247806</c:v>
                </c:pt>
                <c:pt idx="33">
                  <c:v>0.36770633808856701</c:v>
                </c:pt>
                <c:pt idx="34">
                  <c:v>0.31401698161754199</c:v>
                </c:pt>
                <c:pt idx="35">
                  <c:v>0.20841076074216</c:v>
                </c:pt>
                <c:pt idx="36">
                  <c:v>0.21261328225506701</c:v>
                </c:pt>
                <c:pt idx="37">
                  <c:v>0.21996054775722601</c:v>
                </c:pt>
                <c:pt idx="38">
                  <c:v>0.15597930186683401</c:v>
                </c:pt>
                <c:pt idx="39">
                  <c:v>0.15666542782812501</c:v>
                </c:pt>
                <c:pt idx="40">
                  <c:v>0.162440321335659</c:v>
                </c:pt>
                <c:pt idx="41">
                  <c:v>0.18736956459590001</c:v>
                </c:pt>
                <c:pt idx="42">
                  <c:v>0.16229737842705599</c:v>
                </c:pt>
                <c:pt idx="43">
                  <c:v>0.15566482746790899</c:v>
                </c:pt>
                <c:pt idx="44">
                  <c:v>0.20335058177763801</c:v>
                </c:pt>
                <c:pt idx="45">
                  <c:v>0.232282226478744</c:v>
                </c:pt>
                <c:pt idx="46">
                  <c:v>0.14340032590983201</c:v>
                </c:pt>
                <c:pt idx="47">
                  <c:v>0.132508076274336</c:v>
                </c:pt>
                <c:pt idx="48">
                  <c:v>0.112438891906573</c:v>
                </c:pt>
                <c:pt idx="49">
                  <c:v>0.10206123674204499</c:v>
                </c:pt>
                <c:pt idx="50">
                  <c:v>0.12098687784099001</c:v>
                </c:pt>
                <c:pt idx="51">
                  <c:v>0.13167900740444299</c:v>
                </c:pt>
                <c:pt idx="52">
                  <c:v>0.14431516052488599</c:v>
                </c:pt>
                <c:pt idx="53">
                  <c:v>0.12574211193382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03B-4BE6-AB89-64D96016482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7270076331513202</c:v>
                </c:pt>
                <c:pt idx="1">
                  <c:v>3.9094313731095802</c:v>
                </c:pt>
                <c:pt idx="2">
                  <c:v>4.01283627319249</c:v>
                </c:pt>
                <c:pt idx="3">
                  <c:v>4.0056891277623698</c:v>
                </c:pt>
                <c:pt idx="4">
                  <c:v>4.14068441064639</c:v>
                </c:pt>
                <c:pt idx="5">
                  <c:v>5.2574401783927502</c:v>
                </c:pt>
                <c:pt idx="6">
                  <c:v>3.8881614683095602</c:v>
                </c:pt>
                <c:pt idx="7">
                  <c:v>4.2550959146916698</c:v>
                </c:pt>
                <c:pt idx="8">
                  <c:v>4.4572457760370501</c:v>
                </c:pt>
                <c:pt idx="9">
                  <c:v>4.2518082277938198</c:v>
                </c:pt>
                <c:pt idx="10">
                  <c:v>4.2025786900711903</c:v>
                </c:pt>
                <c:pt idx="11">
                  <c:v>4.1058063409474297</c:v>
                </c:pt>
                <c:pt idx="12">
                  <c:v>4.2404871494325196</c:v>
                </c:pt>
                <c:pt idx="13">
                  <c:v>4.2693616169701798</c:v>
                </c:pt>
                <c:pt idx="14">
                  <c:v>4.9966837245204303</c:v>
                </c:pt>
                <c:pt idx="15">
                  <c:v>4.2840561479744999</c:v>
                </c:pt>
                <c:pt idx="16">
                  <c:v>4.3261957174304602</c:v>
                </c:pt>
                <c:pt idx="17">
                  <c:v>4.0951427999656902</c:v>
                </c:pt>
                <c:pt idx="18">
                  <c:v>4.2110694988421598</c:v>
                </c:pt>
                <c:pt idx="19">
                  <c:v>4.3556705451842497</c:v>
                </c:pt>
                <c:pt idx="20">
                  <c:v>4.3273392606992802</c:v>
                </c:pt>
                <c:pt idx="21">
                  <c:v>3.9383916063924098</c:v>
                </c:pt>
                <c:pt idx="22">
                  <c:v>3.8886474741988</c:v>
                </c:pt>
                <c:pt idx="23">
                  <c:v>4.4581034334886596</c:v>
                </c:pt>
                <c:pt idx="24">
                  <c:v>4.2477200606077901</c:v>
                </c:pt>
                <c:pt idx="25">
                  <c:v>3.84153349152349</c:v>
                </c:pt>
                <c:pt idx="26">
                  <c:v>3.53806569656079</c:v>
                </c:pt>
                <c:pt idx="27">
                  <c:v>3.35527030504017</c:v>
                </c:pt>
                <c:pt idx="28">
                  <c:v>3.7204322593556101</c:v>
                </c:pt>
                <c:pt idx="29">
                  <c:v>3.6470453700791898</c:v>
                </c:pt>
                <c:pt idx="30">
                  <c:v>3.6068784127619402</c:v>
                </c:pt>
                <c:pt idx="31">
                  <c:v>3.6003888047113999</c:v>
                </c:pt>
                <c:pt idx="32">
                  <c:v>3.5314331456016501</c:v>
                </c:pt>
                <c:pt idx="33">
                  <c:v>3.5799193801995499</c:v>
                </c:pt>
                <c:pt idx="34">
                  <c:v>3.3873466937305201</c:v>
                </c:pt>
                <c:pt idx="35">
                  <c:v>3.16129677806684</c:v>
                </c:pt>
                <c:pt idx="36">
                  <c:v>3.3684210526315801</c:v>
                </c:pt>
                <c:pt idx="37">
                  <c:v>3.2750221561508299</c:v>
                </c:pt>
                <c:pt idx="38">
                  <c:v>3.3542411160982302</c:v>
                </c:pt>
                <c:pt idx="39">
                  <c:v>3.2957488778981698</c:v>
                </c:pt>
                <c:pt idx="40">
                  <c:v>3.2027788101432302</c:v>
                </c:pt>
                <c:pt idx="41">
                  <c:v>3.1613539552302798</c:v>
                </c:pt>
                <c:pt idx="42">
                  <c:v>3.3106435289745302</c:v>
                </c:pt>
                <c:pt idx="43">
                  <c:v>3.1921438577432202</c:v>
                </c:pt>
                <c:pt idx="44">
                  <c:v>3.1756768346722302</c:v>
                </c:pt>
                <c:pt idx="45">
                  <c:v>3.3129020269304399</c:v>
                </c:pt>
                <c:pt idx="46">
                  <c:v>3.4087309528574301</c:v>
                </c:pt>
                <c:pt idx="47">
                  <c:v>3.3061265330626899</c:v>
                </c:pt>
                <c:pt idx="48">
                  <c:v>3.2327110552045499</c:v>
                </c:pt>
                <c:pt idx="49">
                  <c:v>2.9068298121730201</c:v>
                </c:pt>
                <c:pt idx="50">
                  <c:v>2.9876497326967599</c:v>
                </c:pt>
                <c:pt idx="51">
                  <c:v>2.9697818691214701</c:v>
                </c:pt>
                <c:pt idx="52">
                  <c:v>3.14525858372166</c:v>
                </c:pt>
                <c:pt idx="53">
                  <c:v>3.34360616369822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03B-4BE6-AB89-64D96016482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4.2908316418422503</c:v>
                </c:pt>
                <c:pt idx="1">
                  <c:v>4.5215414963263703</c:v>
                </c:pt>
                <c:pt idx="2">
                  <c:v>4.5568769833328604</c:v>
                </c:pt>
                <c:pt idx="3">
                  <c:v>4.4213385173961504</c:v>
                </c:pt>
                <c:pt idx="4">
                  <c:v>4.6520483718802703</c:v>
                </c:pt>
                <c:pt idx="5">
                  <c:v>5.99848480516882</c:v>
                </c:pt>
                <c:pt idx="6">
                  <c:v>4.4567025929843602</c:v>
                </c:pt>
                <c:pt idx="7">
                  <c:v>4.8426770347922998</c:v>
                </c:pt>
                <c:pt idx="8">
                  <c:v>5.0125217987935597</c:v>
                </c:pt>
                <c:pt idx="9">
                  <c:v>4.7629720689556603</c:v>
                </c:pt>
                <c:pt idx="10">
                  <c:v>4.7370994024986404</c:v>
                </c:pt>
                <c:pt idx="11">
                  <c:v>4.6330083764544403</c:v>
                </c:pt>
                <c:pt idx="12">
                  <c:v>4.7591983761685599</c:v>
                </c:pt>
                <c:pt idx="13">
                  <c:v>4.7737785528459904</c:v>
                </c:pt>
                <c:pt idx="14">
                  <c:v>5.5495583064124201</c:v>
                </c:pt>
                <c:pt idx="15">
                  <c:v>4.9003973812859103</c:v>
                </c:pt>
                <c:pt idx="16">
                  <c:v>4.9488550273021001</c:v>
                </c:pt>
                <c:pt idx="17">
                  <c:v>4.8327282083535801</c:v>
                </c:pt>
                <c:pt idx="18">
                  <c:v>4.9700105777752404</c:v>
                </c:pt>
                <c:pt idx="19">
                  <c:v>5.0854512707624604</c:v>
                </c:pt>
                <c:pt idx="20">
                  <c:v>5.0180679836473301</c:v>
                </c:pt>
                <c:pt idx="21">
                  <c:v>4.5696560793619003</c:v>
                </c:pt>
                <c:pt idx="22">
                  <c:v>4.4407501643843403</c:v>
                </c:pt>
                <c:pt idx="23">
                  <c:v>5.1397409874496098</c:v>
                </c:pt>
                <c:pt idx="24">
                  <c:v>5.0944280854226802</c:v>
                </c:pt>
                <c:pt idx="25">
                  <c:v>4.7704336887847001</c:v>
                </c:pt>
                <c:pt idx="26">
                  <c:v>5.8145744589610899</c:v>
                </c:pt>
                <c:pt idx="27">
                  <c:v>4.6941021755910697</c:v>
                </c:pt>
                <c:pt idx="28">
                  <c:v>4.4037565396380698</c:v>
                </c:pt>
                <c:pt idx="29">
                  <c:v>4.1087509648646297</c:v>
                </c:pt>
                <c:pt idx="30">
                  <c:v>4.1974613339432203</c:v>
                </c:pt>
                <c:pt idx="31">
                  <c:v>4.0815060464850301</c:v>
                </c:pt>
                <c:pt idx="32">
                  <c:v>3.9908516538494498</c:v>
                </c:pt>
                <c:pt idx="33">
                  <c:v>3.94762571828812</c:v>
                </c:pt>
                <c:pt idx="34">
                  <c:v>3.7013636753480701</c:v>
                </c:pt>
                <c:pt idx="35">
                  <c:v>3.3697075388090001</c:v>
                </c:pt>
                <c:pt idx="36">
                  <c:v>3.5810343348866498</c:v>
                </c:pt>
                <c:pt idx="37">
                  <c:v>3.4949827039080601</c:v>
                </c:pt>
                <c:pt idx="38">
                  <c:v>3.5102204179650598</c:v>
                </c:pt>
                <c:pt idx="39">
                  <c:v>3.4524143057262902</c:v>
                </c:pt>
                <c:pt idx="40">
                  <c:v>3.3652191314788902</c:v>
                </c:pt>
                <c:pt idx="41">
                  <c:v>3.34872351982618</c:v>
                </c:pt>
                <c:pt idx="42">
                  <c:v>3.47294090740158</c:v>
                </c:pt>
                <c:pt idx="43">
                  <c:v>3.3478086852111302</c:v>
                </c:pt>
                <c:pt idx="44">
                  <c:v>3.3790274164498699</c:v>
                </c:pt>
                <c:pt idx="45">
                  <c:v>3.54518425340919</c:v>
                </c:pt>
                <c:pt idx="46">
                  <c:v>3.5521312787672601</c:v>
                </c:pt>
                <c:pt idx="47">
                  <c:v>3.4386346093370301</c:v>
                </c:pt>
                <c:pt idx="48">
                  <c:v>3.3451499471111199</c:v>
                </c:pt>
                <c:pt idx="49">
                  <c:v>3.0088910489150602</c:v>
                </c:pt>
                <c:pt idx="50">
                  <c:v>3.1086366105377499</c:v>
                </c:pt>
                <c:pt idx="51">
                  <c:v>3.1014608765259202</c:v>
                </c:pt>
                <c:pt idx="52">
                  <c:v>3.28957374424655</c:v>
                </c:pt>
                <c:pt idx="53">
                  <c:v>3.4693482756320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03B-4BE6-AB89-64D9601648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239485714285714</c:v>
                </c:pt>
                <c:pt idx="27">
                  <c:v>0.143971428571429</c:v>
                </c:pt>
                <c:pt idx="28">
                  <c:v>2.0657142857142902E-2</c:v>
                </c:pt>
                <c:pt idx="29">
                  <c:v>3.5657142857142901E-2</c:v>
                </c:pt>
                <c:pt idx="30">
                  <c:v>9.1457142857142903E-2</c:v>
                </c:pt>
                <c:pt idx="31">
                  <c:v>5.7542857142857097E-2</c:v>
                </c:pt>
                <c:pt idx="32">
                  <c:v>5.41714285714286E-2</c:v>
                </c:pt>
                <c:pt idx="33">
                  <c:v>4.5199999999999997E-2</c:v>
                </c:pt>
                <c:pt idx="34">
                  <c:v>5.4342857142857103E-2</c:v>
                </c:pt>
                <c:pt idx="35">
                  <c:v>3.1457142857142899E-2</c:v>
                </c:pt>
                <c:pt idx="36">
                  <c:v>4.0914285714285702E-2</c:v>
                </c:pt>
                <c:pt idx="37">
                  <c:v>3.2257142857142901E-2</c:v>
                </c:pt>
                <c:pt idx="38">
                  <c:v>2.36857142857143E-2</c:v>
                </c:pt>
                <c:pt idx="39">
                  <c:v>4.02E-2</c:v>
                </c:pt>
                <c:pt idx="40">
                  <c:v>2.6599999999999999E-2</c:v>
                </c:pt>
                <c:pt idx="41">
                  <c:v>3.2399999999999998E-2</c:v>
                </c:pt>
                <c:pt idx="42">
                  <c:v>3.2885714285714303E-2</c:v>
                </c:pt>
                <c:pt idx="43">
                  <c:v>4.96571428571429E-2</c:v>
                </c:pt>
                <c:pt idx="44">
                  <c:v>5.4342857142857103E-2</c:v>
                </c:pt>
                <c:pt idx="45">
                  <c:v>7.3057142857142904E-2</c:v>
                </c:pt>
                <c:pt idx="46">
                  <c:v>3.3399999999999999E-2</c:v>
                </c:pt>
                <c:pt idx="47">
                  <c:v>2.5228571428571399E-2</c:v>
                </c:pt>
                <c:pt idx="48">
                  <c:v>2.4371428571428599E-2</c:v>
                </c:pt>
                <c:pt idx="49">
                  <c:v>3.6114285714285703E-2</c:v>
                </c:pt>
                <c:pt idx="50">
                  <c:v>3.4514285714285699E-2</c:v>
                </c:pt>
                <c:pt idx="51">
                  <c:v>3.1971428571428602E-2</c:v>
                </c:pt>
                <c:pt idx="52">
                  <c:v>3.3485714285714299E-2</c:v>
                </c:pt>
                <c:pt idx="53">
                  <c:v>2.89333333333333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F5-477D-A970-E3FBB1FEA869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20091428571428599</c:v>
                </c:pt>
                <c:pt idx="27">
                  <c:v>0.212914285714286</c:v>
                </c:pt>
                <c:pt idx="28">
                  <c:v>0.179057142857143</c:v>
                </c:pt>
                <c:pt idx="29">
                  <c:v>0.19197142857142899</c:v>
                </c:pt>
                <c:pt idx="30">
                  <c:v>0.20971428571428599</c:v>
                </c:pt>
                <c:pt idx="31">
                  <c:v>0.21902857142857099</c:v>
                </c:pt>
                <c:pt idx="32">
                  <c:v>0.25408571428571403</c:v>
                </c:pt>
                <c:pt idx="33">
                  <c:v>0.25334285714285698</c:v>
                </c:pt>
                <c:pt idx="34">
                  <c:v>0.23322857142857101</c:v>
                </c:pt>
                <c:pt idx="35">
                  <c:v>0.17985714285714299</c:v>
                </c:pt>
                <c:pt idx="36">
                  <c:v>0.201257142857143</c:v>
                </c:pt>
                <c:pt idx="37">
                  <c:v>0.24379999999999999</c:v>
                </c:pt>
                <c:pt idx="38">
                  <c:v>0.25554285714285702</c:v>
                </c:pt>
                <c:pt idx="39">
                  <c:v>0.21268571428571401</c:v>
                </c:pt>
                <c:pt idx="40">
                  <c:v>0.219</c:v>
                </c:pt>
                <c:pt idx="41">
                  <c:v>0.25377142857142898</c:v>
                </c:pt>
                <c:pt idx="42">
                  <c:v>0.229371428571429</c:v>
                </c:pt>
                <c:pt idx="43">
                  <c:v>0.23591428571428599</c:v>
                </c:pt>
                <c:pt idx="44">
                  <c:v>0.202828571428571</c:v>
                </c:pt>
                <c:pt idx="45">
                  <c:v>0.242114285714286</c:v>
                </c:pt>
                <c:pt idx="46">
                  <c:v>0.220085714285714</c:v>
                </c:pt>
                <c:pt idx="47">
                  <c:v>0.228028571428571</c:v>
                </c:pt>
                <c:pt idx="48">
                  <c:v>0.19020000000000001</c:v>
                </c:pt>
                <c:pt idx="49">
                  <c:v>0.16882857142857099</c:v>
                </c:pt>
                <c:pt idx="50">
                  <c:v>0.18988571428571399</c:v>
                </c:pt>
                <c:pt idx="51">
                  <c:v>0.19568571428571399</c:v>
                </c:pt>
                <c:pt idx="52">
                  <c:v>0.182914285714286</c:v>
                </c:pt>
                <c:pt idx="53">
                  <c:v>0.16566666666666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7F5-477D-A970-E3FBB1FEA869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44040000000000001</c:v>
                </c:pt>
                <c:pt idx="27">
                  <c:v>0.35688571428571397</c:v>
                </c:pt>
                <c:pt idx="28">
                  <c:v>0.19971428571428601</c:v>
                </c:pt>
                <c:pt idx="29">
                  <c:v>0.22762857142857101</c:v>
                </c:pt>
                <c:pt idx="30">
                  <c:v>0.30117142857142898</c:v>
                </c:pt>
                <c:pt idx="31">
                  <c:v>0.27657142857142902</c:v>
                </c:pt>
                <c:pt idx="32">
                  <c:v>0.30825714285714301</c:v>
                </c:pt>
                <c:pt idx="33">
                  <c:v>0.298542857142857</c:v>
                </c:pt>
                <c:pt idx="34">
                  <c:v>0.28757142857142898</c:v>
                </c:pt>
                <c:pt idx="35">
                  <c:v>0.21131428571428601</c:v>
                </c:pt>
                <c:pt idx="36">
                  <c:v>0.24217142857142901</c:v>
                </c:pt>
                <c:pt idx="37">
                  <c:v>0.276057142857143</c:v>
                </c:pt>
                <c:pt idx="38">
                  <c:v>0.27922857142857099</c:v>
                </c:pt>
                <c:pt idx="39">
                  <c:v>0.25288571428571399</c:v>
                </c:pt>
                <c:pt idx="40">
                  <c:v>0.24560000000000001</c:v>
                </c:pt>
                <c:pt idx="41">
                  <c:v>0.28617142857142902</c:v>
                </c:pt>
                <c:pt idx="42">
                  <c:v>0.26225714285714302</c:v>
                </c:pt>
                <c:pt idx="43">
                  <c:v>0.28557142857142898</c:v>
                </c:pt>
                <c:pt idx="44">
                  <c:v>0.25717142857142899</c:v>
                </c:pt>
                <c:pt idx="45">
                  <c:v>0.31517142857142899</c:v>
                </c:pt>
                <c:pt idx="46">
                  <c:v>0.25348571428571398</c:v>
                </c:pt>
                <c:pt idx="47">
                  <c:v>0.25325714285714301</c:v>
                </c:pt>
                <c:pt idx="48">
                  <c:v>0.214571428571429</c:v>
                </c:pt>
                <c:pt idx="49">
                  <c:v>0.20494285714285701</c:v>
                </c:pt>
                <c:pt idx="50">
                  <c:v>0.22439999999999999</c:v>
                </c:pt>
                <c:pt idx="51">
                  <c:v>0.227657142857143</c:v>
                </c:pt>
                <c:pt idx="52">
                  <c:v>0.21640000000000001</c:v>
                </c:pt>
                <c:pt idx="53">
                  <c:v>0.1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F5-477D-A970-E3FBB1FEA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43083672650111798</c:v>
                </c:pt>
                <c:pt idx="27">
                  <c:v>0.28479669667947499</c:v>
                </c:pt>
                <c:pt idx="28">
                  <c:v>8.9034811034008093E-2</c:v>
                </c:pt>
                <c:pt idx="29">
                  <c:v>8.4074095314561004E-2</c:v>
                </c:pt>
                <c:pt idx="30">
                  <c:v>0.130584389516545</c:v>
                </c:pt>
                <c:pt idx="31">
                  <c:v>0.105608762975282</c:v>
                </c:pt>
                <c:pt idx="32">
                  <c:v>0.14552388598956201</c:v>
                </c:pt>
                <c:pt idx="33">
                  <c:v>0.104891896541836</c:v>
                </c:pt>
                <c:pt idx="34">
                  <c:v>8.6540115845615606E-2</c:v>
                </c:pt>
                <c:pt idx="35">
                  <c:v>4.1864999713253401E-2</c:v>
                </c:pt>
                <c:pt idx="36">
                  <c:v>4.0890061363766703E-2</c:v>
                </c:pt>
                <c:pt idx="37">
                  <c:v>3.6990307965819799E-2</c:v>
                </c:pt>
                <c:pt idx="38">
                  <c:v>2.2251534094167601E-2</c:v>
                </c:pt>
                <c:pt idx="39">
                  <c:v>2.2165510122154002E-2</c:v>
                </c:pt>
                <c:pt idx="40">
                  <c:v>2.2882376555600201E-2</c:v>
                </c:pt>
                <c:pt idx="41">
                  <c:v>2.4860927911911499E-2</c:v>
                </c:pt>
                <c:pt idx="42">
                  <c:v>2.08178012272753E-2</c:v>
                </c:pt>
                <c:pt idx="43">
                  <c:v>2.5291047771979099E-2</c:v>
                </c:pt>
                <c:pt idx="44">
                  <c:v>4.1062109307793797E-2</c:v>
                </c:pt>
                <c:pt idx="45">
                  <c:v>5.9155818087973801E-2</c:v>
                </c:pt>
                <c:pt idx="46">
                  <c:v>3.3979468945346099E-2</c:v>
                </c:pt>
                <c:pt idx="47">
                  <c:v>2.4000688191776101E-2</c:v>
                </c:pt>
                <c:pt idx="48">
                  <c:v>2.45168320238573E-2</c:v>
                </c:pt>
                <c:pt idx="49">
                  <c:v>1.43946779835981E-2</c:v>
                </c:pt>
                <c:pt idx="50">
                  <c:v>1.27602225153409E-2</c:v>
                </c:pt>
                <c:pt idx="51">
                  <c:v>1.3792510179503399E-2</c:v>
                </c:pt>
                <c:pt idx="52">
                  <c:v>1.2530825256638199E-2</c:v>
                </c:pt>
                <c:pt idx="53">
                  <c:v>1.4117489629332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0F0-49FB-8E61-6684DFECB28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0935940815507301</c:v>
                </c:pt>
                <c:pt idx="27">
                  <c:v>2.8453862476343401</c:v>
                </c:pt>
                <c:pt idx="28">
                  <c:v>3.0233698457303402</c:v>
                </c:pt>
                <c:pt idx="29">
                  <c:v>3.0009462636921498</c:v>
                </c:pt>
                <c:pt idx="30">
                  <c:v>2.9236107128519802</c:v>
                </c:pt>
                <c:pt idx="31">
                  <c:v>2.8568274359121402</c:v>
                </c:pt>
                <c:pt idx="32">
                  <c:v>2.7230028101164199</c:v>
                </c:pt>
                <c:pt idx="33">
                  <c:v>2.8654585077708301</c:v>
                </c:pt>
                <c:pt idx="34">
                  <c:v>2.7652979296897402</c:v>
                </c:pt>
                <c:pt idx="35">
                  <c:v>2.6545850777083202</c:v>
                </c:pt>
                <c:pt idx="36">
                  <c:v>2.83666915180364</c:v>
                </c:pt>
                <c:pt idx="37">
                  <c:v>2.7581005906979401</c:v>
                </c:pt>
                <c:pt idx="38">
                  <c:v>2.78777886104261</c:v>
                </c:pt>
                <c:pt idx="39">
                  <c:v>2.8494867236336501</c:v>
                </c:pt>
                <c:pt idx="40">
                  <c:v>2.6515168893731702</c:v>
                </c:pt>
                <c:pt idx="41">
                  <c:v>2.5655215920169798</c:v>
                </c:pt>
                <c:pt idx="42">
                  <c:v>2.7928542753914098</c:v>
                </c:pt>
                <c:pt idx="43">
                  <c:v>2.64383208120663</c:v>
                </c:pt>
                <c:pt idx="44">
                  <c:v>2.6809657624591399</c:v>
                </c:pt>
                <c:pt idx="45">
                  <c:v>2.7339278545621402</c:v>
                </c:pt>
                <c:pt idx="46">
                  <c:v>2.7992487239777502</c:v>
                </c:pt>
                <c:pt idx="47">
                  <c:v>2.64136606067557</c:v>
                </c:pt>
                <c:pt idx="48">
                  <c:v>2.6533807421001301</c:v>
                </c:pt>
                <c:pt idx="49">
                  <c:v>2.33615300797155</c:v>
                </c:pt>
                <c:pt idx="50">
                  <c:v>2.5148247978436702</c:v>
                </c:pt>
                <c:pt idx="51">
                  <c:v>2.4712393186901398</c:v>
                </c:pt>
                <c:pt idx="52">
                  <c:v>2.4541492229167901</c:v>
                </c:pt>
                <c:pt idx="53">
                  <c:v>2.4318881306035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0F0-49FB-8E61-6684DFECB28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5244308080518398</c:v>
                </c:pt>
                <c:pt idx="27">
                  <c:v>3.13018294431382</c:v>
                </c:pt>
                <c:pt idx="28">
                  <c:v>3.1124046567643502</c:v>
                </c:pt>
                <c:pt idx="29">
                  <c:v>3.0850203590067098</c:v>
                </c:pt>
                <c:pt idx="30">
                  <c:v>3.0541951023685301</c:v>
                </c:pt>
                <c:pt idx="31">
                  <c:v>2.9624361988874202</c:v>
                </c:pt>
                <c:pt idx="32">
                  <c:v>2.8685266961059801</c:v>
                </c:pt>
                <c:pt idx="33">
                  <c:v>2.9703504043126698</c:v>
                </c:pt>
                <c:pt idx="34">
                  <c:v>2.8518380455353598</c:v>
                </c:pt>
                <c:pt idx="35">
                  <c:v>2.6964500774215701</c:v>
                </c:pt>
                <c:pt idx="36">
                  <c:v>2.8775592131673999</c:v>
                </c:pt>
                <c:pt idx="37">
                  <c:v>2.7950908986637599</c:v>
                </c:pt>
                <c:pt idx="38">
                  <c:v>2.81003039513678</c:v>
                </c:pt>
                <c:pt idx="39">
                  <c:v>2.8716522337558099</c:v>
                </c:pt>
                <c:pt idx="40">
                  <c:v>2.6743992659287699</c:v>
                </c:pt>
                <c:pt idx="41">
                  <c:v>2.5903825199288901</c:v>
                </c:pt>
                <c:pt idx="42">
                  <c:v>2.8136720766186798</c:v>
                </c:pt>
                <c:pt idx="43">
                  <c:v>2.6691231289786099</c:v>
                </c:pt>
                <c:pt idx="44">
                  <c:v>2.72202787176693</c:v>
                </c:pt>
                <c:pt idx="45">
                  <c:v>2.79308367265011</c:v>
                </c:pt>
                <c:pt idx="46">
                  <c:v>2.83322819292309</c:v>
                </c:pt>
                <c:pt idx="47">
                  <c:v>2.66536674886735</c:v>
                </c:pt>
                <c:pt idx="48">
                  <c:v>2.6778975741239899</c:v>
                </c:pt>
                <c:pt idx="49">
                  <c:v>2.3505476859551502</c:v>
                </c:pt>
                <c:pt idx="50">
                  <c:v>2.5275850203590098</c:v>
                </c:pt>
                <c:pt idx="51">
                  <c:v>2.48503182886965</c:v>
                </c:pt>
                <c:pt idx="52">
                  <c:v>2.4666800481734201</c:v>
                </c:pt>
                <c:pt idx="53">
                  <c:v>2.4460056202328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0F0-49FB-8E61-6684DFECB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03656003323639E-2"/>
          <c:y val="3.8011695906432746E-2"/>
          <c:w val="0.95679268799335271"/>
          <c:h val="0.9239766081871344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03-4C6C-BC3B-001CAC465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03-4C6C-BC3B-001CAC465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103-4C6C-BC3B-001CAC465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58433616097849E-2"/>
          <c:y val="2.584493041749503E-2"/>
          <c:w val="0.9794831327678043"/>
          <c:h val="0.9483101391650099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NJ$1</c:f>
              <c:numCache>
                <c:formatCode>General</c:formatCode>
                <c:ptCount val="374"/>
                <c:pt idx="0">
                  <c:v>18469</c:v>
                </c:pt>
                <c:pt idx="1">
                  <c:v>18470</c:v>
                </c:pt>
                <c:pt idx="2">
                  <c:v>18471</c:v>
                </c:pt>
                <c:pt idx="3">
                  <c:v>18472</c:v>
                </c:pt>
                <c:pt idx="4">
                  <c:v>18473</c:v>
                </c:pt>
                <c:pt idx="5">
                  <c:v>18474</c:v>
                </c:pt>
                <c:pt idx="6">
                  <c:v>18475</c:v>
                </c:pt>
                <c:pt idx="7">
                  <c:v>18476</c:v>
                </c:pt>
                <c:pt idx="8">
                  <c:v>18477</c:v>
                </c:pt>
                <c:pt idx="9">
                  <c:v>18478</c:v>
                </c:pt>
                <c:pt idx="10">
                  <c:v>18479</c:v>
                </c:pt>
                <c:pt idx="11">
                  <c:v>18480</c:v>
                </c:pt>
                <c:pt idx="12">
                  <c:v>18481</c:v>
                </c:pt>
                <c:pt idx="13">
                  <c:v>18482</c:v>
                </c:pt>
                <c:pt idx="14">
                  <c:v>18483</c:v>
                </c:pt>
                <c:pt idx="15">
                  <c:v>18484</c:v>
                </c:pt>
                <c:pt idx="16">
                  <c:v>18485</c:v>
                </c:pt>
                <c:pt idx="17">
                  <c:v>18486</c:v>
                </c:pt>
                <c:pt idx="18">
                  <c:v>18487</c:v>
                </c:pt>
                <c:pt idx="19">
                  <c:v>18488</c:v>
                </c:pt>
                <c:pt idx="20">
                  <c:v>18489</c:v>
                </c:pt>
                <c:pt idx="21">
                  <c:v>18490</c:v>
                </c:pt>
                <c:pt idx="22">
                  <c:v>18491</c:v>
                </c:pt>
                <c:pt idx="23">
                  <c:v>18492</c:v>
                </c:pt>
                <c:pt idx="24">
                  <c:v>18493</c:v>
                </c:pt>
                <c:pt idx="25">
                  <c:v>18494</c:v>
                </c:pt>
                <c:pt idx="26">
                  <c:v>18495</c:v>
                </c:pt>
                <c:pt idx="27">
                  <c:v>18496</c:v>
                </c:pt>
                <c:pt idx="28">
                  <c:v>18497</c:v>
                </c:pt>
                <c:pt idx="29">
                  <c:v>18498</c:v>
                </c:pt>
                <c:pt idx="30">
                  <c:v>18499</c:v>
                </c:pt>
                <c:pt idx="31">
                  <c:v>18500</c:v>
                </c:pt>
                <c:pt idx="32">
                  <c:v>18501</c:v>
                </c:pt>
                <c:pt idx="33">
                  <c:v>18502</c:v>
                </c:pt>
                <c:pt idx="34">
                  <c:v>18503</c:v>
                </c:pt>
                <c:pt idx="35">
                  <c:v>18504</c:v>
                </c:pt>
                <c:pt idx="36">
                  <c:v>18505</c:v>
                </c:pt>
                <c:pt idx="37">
                  <c:v>18506</c:v>
                </c:pt>
                <c:pt idx="38">
                  <c:v>18507</c:v>
                </c:pt>
                <c:pt idx="39">
                  <c:v>18508</c:v>
                </c:pt>
                <c:pt idx="40">
                  <c:v>18509</c:v>
                </c:pt>
                <c:pt idx="41">
                  <c:v>18510</c:v>
                </c:pt>
                <c:pt idx="42">
                  <c:v>18511</c:v>
                </c:pt>
                <c:pt idx="43">
                  <c:v>18512</c:v>
                </c:pt>
                <c:pt idx="44">
                  <c:v>18513</c:v>
                </c:pt>
                <c:pt idx="45">
                  <c:v>18514</c:v>
                </c:pt>
                <c:pt idx="46">
                  <c:v>18515</c:v>
                </c:pt>
                <c:pt idx="47">
                  <c:v>18516</c:v>
                </c:pt>
                <c:pt idx="48">
                  <c:v>18517</c:v>
                </c:pt>
                <c:pt idx="49">
                  <c:v>18518</c:v>
                </c:pt>
                <c:pt idx="50">
                  <c:v>18519</c:v>
                </c:pt>
                <c:pt idx="51">
                  <c:v>18520</c:v>
                </c:pt>
                <c:pt idx="52">
                  <c:v>18521</c:v>
                </c:pt>
                <c:pt idx="53">
                  <c:v>18522</c:v>
                </c:pt>
                <c:pt idx="54">
                  <c:v>18523</c:v>
                </c:pt>
                <c:pt idx="55">
                  <c:v>18524</c:v>
                </c:pt>
                <c:pt idx="56">
                  <c:v>18525</c:v>
                </c:pt>
                <c:pt idx="57">
                  <c:v>18526</c:v>
                </c:pt>
                <c:pt idx="58">
                  <c:v>18527</c:v>
                </c:pt>
                <c:pt idx="59">
                  <c:v>18528</c:v>
                </c:pt>
                <c:pt idx="60">
                  <c:v>18529</c:v>
                </c:pt>
                <c:pt idx="61">
                  <c:v>18530</c:v>
                </c:pt>
                <c:pt idx="62">
                  <c:v>18531</c:v>
                </c:pt>
                <c:pt idx="63">
                  <c:v>18532</c:v>
                </c:pt>
                <c:pt idx="64">
                  <c:v>18533</c:v>
                </c:pt>
                <c:pt idx="65">
                  <c:v>18534</c:v>
                </c:pt>
                <c:pt idx="66">
                  <c:v>18535</c:v>
                </c:pt>
                <c:pt idx="67">
                  <c:v>18536</c:v>
                </c:pt>
                <c:pt idx="68">
                  <c:v>18537</c:v>
                </c:pt>
                <c:pt idx="69">
                  <c:v>18538</c:v>
                </c:pt>
                <c:pt idx="70">
                  <c:v>18539</c:v>
                </c:pt>
                <c:pt idx="71">
                  <c:v>18540</c:v>
                </c:pt>
                <c:pt idx="72">
                  <c:v>18541</c:v>
                </c:pt>
                <c:pt idx="73">
                  <c:v>18542</c:v>
                </c:pt>
                <c:pt idx="74">
                  <c:v>18543</c:v>
                </c:pt>
                <c:pt idx="75">
                  <c:v>18544</c:v>
                </c:pt>
                <c:pt idx="76">
                  <c:v>18545</c:v>
                </c:pt>
                <c:pt idx="77">
                  <c:v>18546</c:v>
                </c:pt>
                <c:pt idx="78">
                  <c:v>18547</c:v>
                </c:pt>
                <c:pt idx="79">
                  <c:v>18548</c:v>
                </c:pt>
                <c:pt idx="80">
                  <c:v>18549</c:v>
                </c:pt>
                <c:pt idx="81">
                  <c:v>18550</c:v>
                </c:pt>
                <c:pt idx="82">
                  <c:v>18551</c:v>
                </c:pt>
                <c:pt idx="83">
                  <c:v>18552</c:v>
                </c:pt>
                <c:pt idx="84">
                  <c:v>18553</c:v>
                </c:pt>
                <c:pt idx="85">
                  <c:v>18554</c:v>
                </c:pt>
                <c:pt idx="86">
                  <c:v>18555</c:v>
                </c:pt>
                <c:pt idx="87">
                  <c:v>18556</c:v>
                </c:pt>
                <c:pt idx="88">
                  <c:v>18557</c:v>
                </c:pt>
                <c:pt idx="89">
                  <c:v>18558</c:v>
                </c:pt>
                <c:pt idx="90">
                  <c:v>18559</c:v>
                </c:pt>
                <c:pt idx="91">
                  <c:v>18560</c:v>
                </c:pt>
                <c:pt idx="92">
                  <c:v>18561</c:v>
                </c:pt>
                <c:pt idx="93">
                  <c:v>18562</c:v>
                </c:pt>
                <c:pt idx="94">
                  <c:v>18563</c:v>
                </c:pt>
                <c:pt idx="95">
                  <c:v>18564</c:v>
                </c:pt>
                <c:pt idx="96">
                  <c:v>18565</c:v>
                </c:pt>
                <c:pt idx="97">
                  <c:v>18566</c:v>
                </c:pt>
                <c:pt idx="98">
                  <c:v>18567</c:v>
                </c:pt>
                <c:pt idx="99">
                  <c:v>18568</c:v>
                </c:pt>
                <c:pt idx="100">
                  <c:v>18569</c:v>
                </c:pt>
                <c:pt idx="101">
                  <c:v>18570</c:v>
                </c:pt>
                <c:pt idx="102">
                  <c:v>18571</c:v>
                </c:pt>
                <c:pt idx="103">
                  <c:v>18572</c:v>
                </c:pt>
                <c:pt idx="104">
                  <c:v>18573</c:v>
                </c:pt>
                <c:pt idx="105">
                  <c:v>18574</c:v>
                </c:pt>
                <c:pt idx="106">
                  <c:v>18575</c:v>
                </c:pt>
                <c:pt idx="107">
                  <c:v>18576</c:v>
                </c:pt>
                <c:pt idx="108">
                  <c:v>18577</c:v>
                </c:pt>
                <c:pt idx="109">
                  <c:v>18578</c:v>
                </c:pt>
                <c:pt idx="110">
                  <c:v>18579</c:v>
                </c:pt>
                <c:pt idx="111">
                  <c:v>18580</c:v>
                </c:pt>
                <c:pt idx="112">
                  <c:v>18581</c:v>
                </c:pt>
                <c:pt idx="113">
                  <c:v>18582</c:v>
                </c:pt>
                <c:pt idx="114">
                  <c:v>18583</c:v>
                </c:pt>
                <c:pt idx="115">
                  <c:v>18584</c:v>
                </c:pt>
                <c:pt idx="116">
                  <c:v>18585</c:v>
                </c:pt>
                <c:pt idx="117">
                  <c:v>18586</c:v>
                </c:pt>
                <c:pt idx="118">
                  <c:v>18587</c:v>
                </c:pt>
                <c:pt idx="119">
                  <c:v>18588</c:v>
                </c:pt>
                <c:pt idx="120">
                  <c:v>18589</c:v>
                </c:pt>
                <c:pt idx="121">
                  <c:v>18590</c:v>
                </c:pt>
                <c:pt idx="122">
                  <c:v>18591</c:v>
                </c:pt>
                <c:pt idx="123">
                  <c:v>18592</c:v>
                </c:pt>
                <c:pt idx="124">
                  <c:v>18593</c:v>
                </c:pt>
                <c:pt idx="125">
                  <c:v>18594</c:v>
                </c:pt>
                <c:pt idx="126">
                  <c:v>18595</c:v>
                </c:pt>
                <c:pt idx="127">
                  <c:v>18596</c:v>
                </c:pt>
                <c:pt idx="128">
                  <c:v>18597</c:v>
                </c:pt>
                <c:pt idx="129">
                  <c:v>18598</c:v>
                </c:pt>
                <c:pt idx="130">
                  <c:v>18599</c:v>
                </c:pt>
                <c:pt idx="131">
                  <c:v>18600</c:v>
                </c:pt>
                <c:pt idx="132">
                  <c:v>18601</c:v>
                </c:pt>
                <c:pt idx="133">
                  <c:v>18602</c:v>
                </c:pt>
                <c:pt idx="134">
                  <c:v>18603</c:v>
                </c:pt>
                <c:pt idx="135">
                  <c:v>18604</c:v>
                </c:pt>
                <c:pt idx="136">
                  <c:v>18605</c:v>
                </c:pt>
                <c:pt idx="137">
                  <c:v>18606</c:v>
                </c:pt>
                <c:pt idx="138">
                  <c:v>18607</c:v>
                </c:pt>
                <c:pt idx="139">
                  <c:v>18608</c:v>
                </c:pt>
                <c:pt idx="140">
                  <c:v>18609</c:v>
                </c:pt>
                <c:pt idx="141">
                  <c:v>18610</c:v>
                </c:pt>
                <c:pt idx="142">
                  <c:v>18611</c:v>
                </c:pt>
                <c:pt idx="143">
                  <c:v>18612</c:v>
                </c:pt>
                <c:pt idx="144">
                  <c:v>18613</c:v>
                </c:pt>
                <c:pt idx="145">
                  <c:v>18614</c:v>
                </c:pt>
                <c:pt idx="146">
                  <c:v>18615</c:v>
                </c:pt>
                <c:pt idx="147">
                  <c:v>18616</c:v>
                </c:pt>
                <c:pt idx="148">
                  <c:v>18617</c:v>
                </c:pt>
                <c:pt idx="149">
                  <c:v>18618</c:v>
                </c:pt>
                <c:pt idx="150">
                  <c:v>18619</c:v>
                </c:pt>
                <c:pt idx="151">
                  <c:v>18620</c:v>
                </c:pt>
                <c:pt idx="152">
                  <c:v>18621</c:v>
                </c:pt>
                <c:pt idx="153">
                  <c:v>18622</c:v>
                </c:pt>
                <c:pt idx="154">
                  <c:v>18623</c:v>
                </c:pt>
                <c:pt idx="155">
                  <c:v>18624</c:v>
                </c:pt>
                <c:pt idx="156">
                  <c:v>18625</c:v>
                </c:pt>
                <c:pt idx="157">
                  <c:v>18626</c:v>
                </c:pt>
                <c:pt idx="158">
                  <c:v>18627</c:v>
                </c:pt>
                <c:pt idx="159">
                  <c:v>18628</c:v>
                </c:pt>
                <c:pt idx="160">
                  <c:v>18629</c:v>
                </c:pt>
                <c:pt idx="161">
                  <c:v>18630</c:v>
                </c:pt>
                <c:pt idx="162">
                  <c:v>18631</c:v>
                </c:pt>
                <c:pt idx="163">
                  <c:v>18632</c:v>
                </c:pt>
                <c:pt idx="164">
                  <c:v>18633</c:v>
                </c:pt>
                <c:pt idx="165">
                  <c:v>18634</c:v>
                </c:pt>
                <c:pt idx="166">
                  <c:v>18635</c:v>
                </c:pt>
                <c:pt idx="167">
                  <c:v>18636</c:v>
                </c:pt>
                <c:pt idx="168">
                  <c:v>18637</c:v>
                </c:pt>
                <c:pt idx="169">
                  <c:v>18638</c:v>
                </c:pt>
                <c:pt idx="170">
                  <c:v>18639</c:v>
                </c:pt>
                <c:pt idx="171">
                  <c:v>18640</c:v>
                </c:pt>
                <c:pt idx="172">
                  <c:v>18641</c:v>
                </c:pt>
                <c:pt idx="173">
                  <c:v>18642</c:v>
                </c:pt>
                <c:pt idx="174">
                  <c:v>18643</c:v>
                </c:pt>
                <c:pt idx="175">
                  <c:v>18644</c:v>
                </c:pt>
                <c:pt idx="176">
                  <c:v>18645</c:v>
                </c:pt>
                <c:pt idx="177">
                  <c:v>18646</c:v>
                </c:pt>
                <c:pt idx="178">
                  <c:v>18647</c:v>
                </c:pt>
                <c:pt idx="179">
                  <c:v>18648</c:v>
                </c:pt>
                <c:pt idx="180">
                  <c:v>18649</c:v>
                </c:pt>
                <c:pt idx="181">
                  <c:v>18650</c:v>
                </c:pt>
                <c:pt idx="182">
                  <c:v>18651</c:v>
                </c:pt>
                <c:pt idx="183">
                  <c:v>18652</c:v>
                </c:pt>
                <c:pt idx="184">
                  <c:v>18653</c:v>
                </c:pt>
                <c:pt idx="185">
                  <c:v>18654</c:v>
                </c:pt>
                <c:pt idx="186">
                  <c:v>18655</c:v>
                </c:pt>
                <c:pt idx="187">
                  <c:v>18656</c:v>
                </c:pt>
                <c:pt idx="188">
                  <c:v>18657</c:v>
                </c:pt>
                <c:pt idx="189">
                  <c:v>18658</c:v>
                </c:pt>
                <c:pt idx="190">
                  <c:v>18659</c:v>
                </c:pt>
                <c:pt idx="191">
                  <c:v>18660</c:v>
                </c:pt>
                <c:pt idx="192">
                  <c:v>18661</c:v>
                </c:pt>
                <c:pt idx="193">
                  <c:v>18662</c:v>
                </c:pt>
                <c:pt idx="194">
                  <c:v>18663</c:v>
                </c:pt>
                <c:pt idx="195">
                  <c:v>18664</c:v>
                </c:pt>
                <c:pt idx="196">
                  <c:v>18665</c:v>
                </c:pt>
                <c:pt idx="197">
                  <c:v>18666</c:v>
                </c:pt>
                <c:pt idx="198">
                  <c:v>18667</c:v>
                </c:pt>
                <c:pt idx="199">
                  <c:v>18668</c:v>
                </c:pt>
                <c:pt idx="200">
                  <c:v>18669</c:v>
                </c:pt>
                <c:pt idx="201">
                  <c:v>18670</c:v>
                </c:pt>
                <c:pt idx="202">
                  <c:v>18671</c:v>
                </c:pt>
                <c:pt idx="203">
                  <c:v>18672</c:v>
                </c:pt>
                <c:pt idx="204">
                  <c:v>18673</c:v>
                </c:pt>
                <c:pt idx="205">
                  <c:v>18674</c:v>
                </c:pt>
                <c:pt idx="206">
                  <c:v>18675</c:v>
                </c:pt>
                <c:pt idx="207">
                  <c:v>18676</c:v>
                </c:pt>
                <c:pt idx="208">
                  <c:v>18677</c:v>
                </c:pt>
                <c:pt idx="209">
                  <c:v>18678</c:v>
                </c:pt>
                <c:pt idx="210">
                  <c:v>18679</c:v>
                </c:pt>
                <c:pt idx="211">
                  <c:v>18680</c:v>
                </c:pt>
                <c:pt idx="212">
                  <c:v>18681</c:v>
                </c:pt>
                <c:pt idx="213">
                  <c:v>18682</c:v>
                </c:pt>
                <c:pt idx="214">
                  <c:v>18683</c:v>
                </c:pt>
                <c:pt idx="215">
                  <c:v>18684</c:v>
                </c:pt>
                <c:pt idx="216">
                  <c:v>18685</c:v>
                </c:pt>
                <c:pt idx="217">
                  <c:v>18686</c:v>
                </c:pt>
                <c:pt idx="218">
                  <c:v>18687</c:v>
                </c:pt>
                <c:pt idx="219">
                  <c:v>18688</c:v>
                </c:pt>
                <c:pt idx="220">
                  <c:v>18689</c:v>
                </c:pt>
                <c:pt idx="221">
                  <c:v>18690</c:v>
                </c:pt>
                <c:pt idx="222">
                  <c:v>18691</c:v>
                </c:pt>
                <c:pt idx="223">
                  <c:v>18692</c:v>
                </c:pt>
                <c:pt idx="224">
                  <c:v>18693</c:v>
                </c:pt>
                <c:pt idx="225">
                  <c:v>18694</c:v>
                </c:pt>
                <c:pt idx="226">
                  <c:v>18695</c:v>
                </c:pt>
                <c:pt idx="227">
                  <c:v>18696</c:v>
                </c:pt>
                <c:pt idx="228">
                  <c:v>18697</c:v>
                </c:pt>
                <c:pt idx="229">
                  <c:v>18698</c:v>
                </c:pt>
                <c:pt idx="230">
                  <c:v>18699</c:v>
                </c:pt>
                <c:pt idx="231">
                  <c:v>18700</c:v>
                </c:pt>
                <c:pt idx="232">
                  <c:v>18701</c:v>
                </c:pt>
                <c:pt idx="233">
                  <c:v>18702</c:v>
                </c:pt>
                <c:pt idx="234">
                  <c:v>18703</c:v>
                </c:pt>
                <c:pt idx="235">
                  <c:v>18704</c:v>
                </c:pt>
                <c:pt idx="236">
                  <c:v>18705</c:v>
                </c:pt>
                <c:pt idx="237">
                  <c:v>18706</c:v>
                </c:pt>
                <c:pt idx="238">
                  <c:v>18707</c:v>
                </c:pt>
                <c:pt idx="239">
                  <c:v>18708</c:v>
                </c:pt>
                <c:pt idx="240">
                  <c:v>18709</c:v>
                </c:pt>
                <c:pt idx="241">
                  <c:v>18710</c:v>
                </c:pt>
                <c:pt idx="242">
                  <c:v>18711</c:v>
                </c:pt>
                <c:pt idx="243">
                  <c:v>18712</c:v>
                </c:pt>
                <c:pt idx="244">
                  <c:v>18713</c:v>
                </c:pt>
                <c:pt idx="245">
                  <c:v>18714</c:v>
                </c:pt>
                <c:pt idx="246">
                  <c:v>18715</c:v>
                </c:pt>
                <c:pt idx="247">
                  <c:v>18716</c:v>
                </c:pt>
                <c:pt idx="248">
                  <c:v>18717</c:v>
                </c:pt>
                <c:pt idx="249">
                  <c:v>18718</c:v>
                </c:pt>
                <c:pt idx="250">
                  <c:v>18719</c:v>
                </c:pt>
                <c:pt idx="251">
                  <c:v>18720</c:v>
                </c:pt>
                <c:pt idx="252">
                  <c:v>18721</c:v>
                </c:pt>
                <c:pt idx="253">
                  <c:v>18722</c:v>
                </c:pt>
                <c:pt idx="254">
                  <c:v>18723</c:v>
                </c:pt>
                <c:pt idx="255">
                  <c:v>18724</c:v>
                </c:pt>
                <c:pt idx="256">
                  <c:v>18725</c:v>
                </c:pt>
                <c:pt idx="257">
                  <c:v>18726</c:v>
                </c:pt>
                <c:pt idx="258">
                  <c:v>18727</c:v>
                </c:pt>
                <c:pt idx="259">
                  <c:v>18728</c:v>
                </c:pt>
                <c:pt idx="260">
                  <c:v>18729</c:v>
                </c:pt>
                <c:pt idx="261">
                  <c:v>18730</c:v>
                </c:pt>
                <c:pt idx="262">
                  <c:v>18731</c:v>
                </c:pt>
                <c:pt idx="263">
                  <c:v>18732</c:v>
                </c:pt>
                <c:pt idx="264">
                  <c:v>18733</c:v>
                </c:pt>
                <c:pt idx="265">
                  <c:v>18734</c:v>
                </c:pt>
                <c:pt idx="266">
                  <c:v>18735</c:v>
                </c:pt>
                <c:pt idx="267">
                  <c:v>18736</c:v>
                </c:pt>
                <c:pt idx="268">
                  <c:v>18737</c:v>
                </c:pt>
                <c:pt idx="269">
                  <c:v>18738</c:v>
                </c:pt>
                <c:pt idx="270">
                  <c:v>18739</c:v>
                </c:pt>
                <c:pt idx="271">
                  <c:v>18740</c:v>
                </c:pt>
                <c:pt idx="272">
                  <c:v>18741</c:v>
                </c:pt>
                <c:pt idx="273">
                  <c:v>18742</c:v>
                </c:pt>
                <c:pt idx="274">
                  <c:v>18743</c:v>
                </c:pt>
                <c:pt idx="275">
                  <c:v>18744</c:v>
                </c:pt>
                <c:pt idx="276">
                  <c:v>18745</c:v>
                </c:pt>
                <c:pt idx="277">
                  <c:v>18746</c:v>
                </c:pt>
                <c:pt idx="278">
                  <c:v>18747</c:v>
                </c:pt>
                <c:pt idx="279">
                  <c:v>18748</c:v>
                </c:pt>
                <c:pt idx="280">
                  <c:v>18749</c:v>
                </c:pt>
                <c:pt idx="281">
                  <c:v>18750</c:v>
                </c:pt>
                <c:pt idx="282">
                  <c:v>18751</c:v>
                </c:pt>
                <c:pt idx="283">
                  <c:v>18752</c:v>
                </c:pt>
                <c:pt idx="284">
                  <c:v>18753</c:v>
                </c:pt>
                <c:pt idx="285">
                  <c:v>18754</c:v>
                </c:pt>
                <c:pt idx="286">
                  <c:v>18755</c:v>
                </c:pt>
                <c:pt idx="287">
                  <c:v>18756</c:v>
                </c:pt>
                <c:pt idx="288">
                  <c:v>18757</c:v>
                </c:pt>
                <c:pt idx="289">
                  <c:v>18758</c:v>
                </c:pt>
                <c:pt idx="290">
                  <c:v>18759</c:v>
                </c:pt>
                <c:pt idx="291">
                  <c:v>18760</c:v>
                </c:pt>
                <c:pt idx="292">
                  <c:v>18761</c:v>
                </c:pt>
                <c:pt idx="293">
                  <c:v>18762</c:v>
                </c:pt>
                <c:pt idx="294">
                  <c:v>18763</c:v>
                </c:pt>
                <c:pt idx="295">
                  <c:v>18764</c:v>
                </c:pt>
                <c:pt idx="296">
                  <c:v>18765</c:v>
                </c:pt>
                <c:pt idx="297">
                  <c:v>18766</c:v>
                </c:pt>
                <c:pt idx="298">
                  <c:v>18767</c:v>
                </c:pt>
                <c:pt idx="299">
                  <c:v>18768</c:v>
                </c:pt>
                <c:pt idx="300">
                  <c:v>18769</c:v>
                </c:pt>
                <c:pt idx="301">
                  <c:v>18770</c:v>
                </c:pt>
                <c:pt idx="302">
                  <c:v>18771</c:v>
                </c:pt>
                <c:pt idx="303">
                  <c:v>18772</c:v>
                </c:pt>
                <c:pt idx="304">
                  <c:v>18773</c:v>
                </c:pt>
                <c:pt idx="305">
                  <c:v>18774</c:v>
                </c:pt>
                <c:pt idx="306">
                  <c:v>18775</c:v>
                </c:pt>
                <c:pt idx="307">
                  <c:v>18776</c:v>
                </c:pt>
                <c:pt idx="308">
                  <c:v>18777</c:v>
                </c:pt>
                <c:pt idx="309">
                  <c:v>18778</c:v>
                </c:pt>
                <c:pt idx="310">
                  <c:v>18779</c:v>
                </c:pt>
                <c:pt idx="311">
                  <c:v>18780</c:v>
                </c:pt>
                <c:pt idx="312">
                  <c:v>18781</c:v>
                </c:pt>
                <c:pt idx="313">
                  <c:v>18782</c:v>
                </c:pt>
                <c:pt idx="314">
                  <c:v>18783</c:v>
                </c:pt>
                <c:pt idx="315">
                  <c:v>18784</c:v>
                </c:pt>
                <c:pt idx="316">
                  <c:v>18785</c:v>
                </c:pt>
                <c:pt idx="317">
                  <c:v>18786</c:v>
                </c:pt>
                <c:pt idx="318">
                  <c:v>18787</c:v>
                </c:pt>
                <c:pt idx="319">
                  <c:v>18788</c:v>
                </c:pt>
                <c:pt idx="320">
                  <c:v>18789</c:v>
                </c:pt>
                <c:pt idx="321">
                  <c:v>18790</c:v>
                </c:pt>
                <c:pt idx="322">
                  <c:v>18791</c:v>
                </c:pt>
                <c:pt idx="323">
                  <c:v>18792</c:v>
                </c:pt>
                <c:pt idx="324">
                  <c:v>18793</c:v>
                </c:pt>
                <c:pt idx="325">
                  <c:v>18794</c:v>
                </c:pt>
                <c:pt idx="326">
                  <c:v>18795</c:v>
                </c:pt>
                <c:pt idx="327">
                  <c:v>18796</c:v>
                </c:pt>
                <c:pt idx="328">
                  <c:v>18797</c:v>
                </c:pt>
                <c:pt idx="329">
                  <c:v>18798</c:v>
                </c:pt>
                <c:pt idx="330">
                  <c:v>18799</c:v>
                </c:pt>
                <c:pt idx="331">
                  <c:v>18800</c:v>
                </c:pt>
                <c:pt idx="332">
                  <c:v>18801</c:v>
                </c:pt>
                <c:pt idx="333">
                  <c:v>18802</c:v>
                </c:pt>
                <c:pt idx="334">
                  <c:v>18803</c:v>
                </c:pt>
                <c:pt idx="335">
                  <c:v>18804</c:v>
                </c:pt>
                <c:pt idx="336">
                  <c:v>18805</c:v>
                </c:pt>
                <c:pt idx="337">
                  <c:v>18806</c:v>
                </c:pt>
                <c:pt idx="338">
                  <c:v>18807</c:v>
                </c:pt>
                <c:pt idx="339">
                  <c:v>18808</c:v>
                </c:pt>
                <c:pt idx="340">
                  <c:v>18809</c:v>
                </c:pt>
                <c:pt idx="341">
                  <c:v>18810</c:v>
                </c:pt>
                <c:pt idx="342">
                  <c:v>18811</c:v>
                </c:pt>
                <c:pt idx="343">
                  <c:v>18812</c:v>
                </c:pt>
                <c:pt idx="344">
                  <c:v>18813</c:v>
                </c:pt>
                <c:pt idx="345">
                  <c:v>18814</c:v>
                </c:pt>
                <c:pt idx="346">
                  <c:v>18815</c:v>
                </c:pt>
                <c:pt idx="347">
                  <c:v>18816</c:v>
                </c:pt>
                <c:pt idx="348">
                  <c:v>18817</c:v>
                </c:pt>
                <c:pt idx="349">
                  <c:v>18818</c:v>
                </c:pt>
                <c:pt idx="350">
                  <c:v>18819</c:v>
                </c:pt>
                <c:pt idx="351">
                  <c:v>18820</c:v>
                </c:pt>
                <c:pt idx="352">
                  <c:v>18821</c:v>
                </c:pt>
                <c:pt idx="353">
                  <c:v>18822</c:v>
                </c:pt>
                <c:pt idx="354">
                  <c:v>18823</c:v>
                </c:pt>
                <c:pt idx="355">
                  <c:v>18824</c:v>
                </c:pt>
                <c:pt idx="356">
                  <c:v>18825</c:v>
                </c:pt>
                <c:pt idx="357">
                  <c:v>18826</c:v>
                </c:pt>
                <c:pt idx="358">
                  <c:v>18827</c:v>
                </c:pt>
                <c:pt idx="359">
                  <c:v>18828</c:v>
                </c:pt>
                <c:pt idx="360">
                  <c:v>18829</c:v>
                </c:pt>
                <c:pt idx="361">
                  <c:v>18830</c:v>
                </c:pt>
                <c:pt idx="362">
                  <c:v>18831</c:v>
                </c:pt>
                <c:pt idx="363">
                  <c:v>18832</c:v>
                </c:pt>
                <c:pt idx="364">
                  <c:v>18833</c:v>
                </c:pt>
                <c:pt idx="365">
                  <c:v>18834</c:v>
                </c:pt>
                <c:pt idx="366">
                  <c:v>18835</c:v>
                </c:pt>
                <c:pt idx="367">
                  <c:v>18836</c:v>
                </c:pt>
                <c:pt idx="368">
                  <c:v>18837</c:v>
                </c:pt>
                <c:pt idx="369">
                  <c:v>18838</c:v>
                </c:pt>
                <c:pt idx="370">
                  <c:v>18839</c:v>
                </c:pt>
                <c:pt idx="371">
                  <c:v>18840</c:v>
                </c:pt>
                <c:pt idx="372">
                  <c:v>18841</c:v>
                </c:pt>
                <c:pt idx="373">
                  <c:v>18842</c:v>
                </c:pt>
              </c:numCache>
            </c:numRef>
          </c:xVal>
          <c:yVal>
            <c:numRef>
              <c:f>Sheet1!$A$2:$NJ$2</c:f>
              <c:numCache>
                <c:formatCode>General</c:formatCode>
                <c:ptCount val="37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2.4902059201001601E-2</c:v>
                </c:pt>
                <c:pt idx="184">
                  <c:v>3.6054604887514802E-2</c:v>
                </c:pt>
                <c:pt idx="185">
                  <c:v>7.6423091876706206E-2</c:v>
                </c:pt>
                <c:pt idx="186">
                  <c:v>9.1039263369377496E-2</c:v>
                </c:pt>
                <c:pt idx="187">
                  <c:v>0.113326603686021</c:v>
                </c:pt>
                <c:pt idx="188">
                  <c:v>0.11129527598529899</c:v>
                </c:pt>
                <c:pt idx="189">
                  <c:v>0.10159074746576301</c:v>
                </c:pt>
                <c:pt idx="190">
                  <c:v>0.11113160310466499</c:v>
                </c:pt>
                <c:pt idx="191">
                  <c:v>7.4258095877323099E-2</c:v>
                </c:pt>
                <c:pt idx="192">
                  <c:v>6.3495830260453995E-2</c:v>
                </c:pt>
                <c:pt idx="193">
                  <c:v>5.2703557979257E-2</c:v>
                </c:pt>
                <c:pt idx="194">
                  <c:v>4.2704007279327098E-2</c:v>
                </c:pt>
                <c:pt idx="195">
                  <c:v>3.4823384640029403E-2</c:v>
                </c:pt>
                <c:pt idx="196">
                  <c:v>3.5371508872973398E-2</c:v>
                </c:pt>
                <c:pt idx="197">
                  <c:v>3.5231656413893801E-2</c:v>
                </c:pt>
                <c:pt idx="198">
                  <c:v>3.5811010019501502E-2</c:v>
                </c:pt>
                <c:pt idx="199">
                  <c:v>3.65757031914756E-2</c:v>
                </c:pt>
                <c:pt idx="200">
                  <c:v>3.7342475923238999E-2</c:v>
                </c:pt>
                <c:pt idx="201">
                  <c:v>3.1786328404861001E-2</c:v>
                </c:pt>
                <c:pt idx="202">
                  <c:v>2.89604770958218E-2</c:v>
                </c:pt>
                <c:pt idx="203">
                  <c:v>2.9726876625937902E-2</c:v>
                </c:pt>
                <c:pt idx="204">
                  <c:v>2.6844153938525201E-2</c:v>
                </c:pt>
                <c:pt idx="205">
                  <c:v>2.6405521853782799E-2</c:v>
                </c:pt>
                <c:pt idx="206">
                  <c:v>2.62664817709179E-2</c:v>
                </c:pt>
                <c:pt idx="207">
                  <c:v>2.9232678206679599E-2</c:v>
                </c:pt>
                <c:pt idx="208">
                  <c:v>2.7666578892292199E-2</c:v>
                </c:pt>
                <c:pt idx="209">
                  <c:v>2.4922552236045101E-2</c:v>
                </c:pt>
                <c:pt idx="210">
                  <c:v>2.3767955491838199E-2</c:v>
                </c:pt>
                <c:pt idx="211">
                  <c:v>2.6144514601063901E-2</c:v>
                </c:pt>
                <c:pt idx="212">
                  <c:v>2.63708978768863E-2</c:v>
                </c:pt>
                <c:pt idx="213">
                  <c:v>2.7935537912008E-2</c:v>
                </c:pt>
                <c:pt idx="214">
                  <c:v>3.1556674388568101E-2</c:v>
                </c:pt>
                <c:pt idx="215">
                  <c:v>2.9833948703773198E-2</c:v>
                </c:pt>
                <c:pt idx="216">
                  <c:v>2.46058533816878E-2</c:v>
                </c:pt>
                <c:pt idx="217">
                  <c:v>2.3485044543719299E-2</c:v>
                </c:pt>
                <c:pt idx="218">
                  <c:v>2.5389131709936199E-2</c:v>
                </c:pt>
                <c:pt idx="219">
                  <c:v>2.5811149898052499E-2</c:v>
                </c:pt>
                <c:pt idx="220">
                  <c:v>2.6316682878217298E-2</c:v>
                </c:pt>
                <c:pt idx="221">
                  <c:v>2.42694301817198E-2</c:v>
                </c:pt>
                <c:pt idx="222">
                  <c:v>2.43238672806847E-2</c:v>
                </c:pt>
                <c:pt idx="223">
                  <c:v>2.1669284644287402E-2</c:v>
                </c:pt>
                <c:pt idx="224">
                  <c:v>2.0317317122205001E-2</c:v>
                </c:pt>
                <c:pt idx="225">
                  <c:v>2.2670694666056201E-2</c:v>
                </c:pt>
                <c:pt idx="226">
                  <c:v>2.4076148872603099E-2</c:v>
                </c:pt>
                <c:pt idx="227">
                  <c:v>2.5845502426242398E-2</c:v>
                </c:pt>
                <c:pt idx="228">
                  <c:v>2.3075750566555999E-2</c:v>
                </c:pt>
                <c:pt idx="229">
                  <c:v>2.2740406698781801E-2</c:v>
                </c:pt>
                <c:pt idx="230">
                  <c:v>2.0498780158433299E-2</c:v>
                </c:pt>
                <c:pt idx="231">
                  <c:v>2.0143526897877299E-2</c:v>
                </c:pt>
                <c:pt idx="232">
                  <c:v>2.3021493283866101E-2</c:v>
                </c:pt>
                <c:pt idx="233">
                  <c:v>2.2846175934332899E-2</c:v>
                </c:pt>
                <c:pt idx="234">
                  <c:v>2.19111333274483E-2</c:v>
                </c:pt>
                <c:pt idx="235">
                  <c:v>2.15759162111731E-2</c:v>
                </c:pt>
                <c:pt idx="236">
                  <c:v>2.26894245193958E-2</c:v>
                </c:pt>
                <c:pt idx="237">
                  <c:v>1.9607602743071599E-2</c:v>
                </c:pt>
                <c:pt idx="238">
                  <c:v>1.8859423510189401E-2</c:v>
                </c:pt>
                <c:pt idx="239">
                  <c:v>2.0203741389823001E-2</c:v>
                </c:pt>
                <c:pt idx="240">
                  <c:v>2.1174554517266499E-2</c:v>
                </c:pt>
                <c:pt idx="241">
                  <c:v>2.2562677440508199E-2</c:v>
                </c:pt>
                <c:pt idx="242">
                  <c:v>2.1436673246987899E-2</c:v>
                </c:pt>
                <c:pt idx="243">
                  <c:v>2.0650275106656599E-2</c:v>
                </c:pt>
                <c:pt idx="244">
                  <c:v>1.86366726526811E-2</c:v>
                </c:pt>
                <c:pt idx="245">
                  <c:v>1.7508868267436601E-2</c:v>
                </c:pt>
                <c:pt idx="246">
                  <c:v>1.8597570100075799E-2</c:v>
                </c:pt>
                <c:pt idx="247">
                  <c:v>1.9198315165583901E-2</c:v>
                </c:pt>
                <c:pt idx="248">
                  <c:v>1.94010807565296E-2</c:v>
                </c:pt>
                <c:pt idx="249">
                  <c:v>1.89565772112145E-2</c:v>
                </c:pt>
                <c:pt idx="250">
                  <c:v>1.7587321975295001E-2</c:v>
                </c:pt>
                <c:pt idx="251">
                  <c:v>1.7584687747716699E-2</c:v>
                </c:pt>
                <c:pt idx="252">
                  <c:v>1.7564456258867898E-2</c:v>
                </c:pt>
                <c:pt idx="253">
                  <c:v>1.9546538882698101E-2</c:v>
                </c:pt>
                <c:pt idx="254">
                  <c:v>1.8439294109634699E-2</c:v>
                </c:pt>
                <c:pt idx="255">
                  <c:v>1.8468410996382498E-2</c:v>
                </c:pt>
                <c:pt idx="256">
                  <c:v>1.8514765451371401E-2</c:v>
                </c:pt>
                <c:pt idx="257">
                  <c:v>1.8653904567598301E-2</c:v>
                </c:pt>
                <c:pt idx="258">
                  <c:v>1.70187003502647E-2</c:v>
                </c:pt>
                <c:pt idx="259">
                  <c:v>1.65549748887759E-2</c:v>
                </c:pt>
                <c:pt idx="260">
                  <c:v>1.8246634237660601E-2</c:v>
                </c:pt>
                <c:pt idx="261">
                  <c:v>1.8657983583151499E-2</c:v>
                </c:pt>
                <c:pt idx="262">
                  <c:v>1.9588873242976899E-2</c:v>
                </c:pt>
                <c:pt idx="263">
                  <c:v>1.9606429386957801E-2</c:v>
                </c:pt>
                <c:pt idx="264">
                  <c:v>2.1611781835942E-2</c:v>
                </c:pt>
                <c:pt idx="265">
                  <c:v>1.8961663690788801E-2</c:v>
                </c:pt>
                <c:pt idx="266">
                  <c:v>1.8307933272008602E-2</c:v>
                </c:pt>
                <c:pt idx="267">
                  <c:v>1.9325474067898502E-2</c:v>
                </c:pt>
                <c:pt idx="268">
                  <c:v>2.0265386050330399E-2</c:v>
                </c:pt>
                <c:pt idx="269">
                  <c:v>1.9783802217249999E-2</c:v>
                </c:pt>
                <c:pt idx="270">
                  <c:v>1.9575121046345099E-2</c:v>
                </c:pt>
                <c:pt idx="271">
                  <c:v>1.9802287165831701E-2</c:v>
                </c:pt>
                <c:pt idx="272">
                  <c:v>1.7718688107554399E-2</c:v>
                </c:pt>
                <c:pt idx="273">
                  <c:v>1.7089825022228201E-2</c:v>
                </c:pt>
                <c:pt idx="274">
                  <c:v>1.8654814719989799E-2</c:v>
                </c:pt>
                <c:pt idx="275">
                  <c:v>1.8930481335707901E-2</c:v>
                </c:pt>
                <c:pt idx="276">
                  <c:v>1.8757968641689798E-2</c:v>
                </c:pt>
                <c:pt idx="277">
                  <c:v>1.82465141492246E-2</c:v>
                </c:pt>
                <c:pt idx="278">
                  <c:v>1.7543428295994201E-2</c:v>
                </c:pt>
                <c:pt idx="279">
                  <c:v>1.6467806882733301E-2</c:v>
                </c:pt>
                <c:pt idx="280">
                  <c:v>1.66880780996485E-2</c:v>
                </c:pt>
                <c:pt idx="281">
                  <c:v>1.84253747920737E-2</c:v>
                </c:pt>
                <c:pt idx="282">
                  <c:v>1.9426546128047801E-2</c:v>
                </c:pt>
                <c:pt idx="283">
                  <c:v>1.9639000174871701E-2</c:v>
                </c:pt>
                <c:pt idx="284">
                  <c:v>1.9158717554459501E-2</c:v>
                </c:pt>
                <c:pt idx="285">
                  <c:v>1.93213728498072E-2</c:v>
                </c:pt>
                <c:pt idx="286">
                  <c:v>1.7890240544927001E-2</c:v>
                </c:pt>
                <c:pt idx="287">
                  <c:v>1.9277470660746799E-2</c:v>
                </c:pt>
                <c:pt idx="288">
                  <c:v>1.94219708846377E-2</c:v>
                </c:pt>
                <c:pt idx="289">
                  <c:v>1.9118374448769199E-2</c:v>
                </c:pt>
                <c:pt idx="290">
                  <c:v>1.89674919963124E-2</c:v>
                </c:pt>
                <c:pt idx="291">
                  <c:v>1.96104573804433E-2</c:v>
                </c:pt>
                <c:pt idx="292">
                  <c:v>1.8797628425722499E-2</c:v>
                </c:pt>
                <c:pt idx="293">
                  <c:v>1.7056530403024499E-2</c:v>
                </c:pt>
                <c:pt idx="294">
                  <c:v>1.65071165487823E-2</c:v>
                </c:pt>
                <c:pt idx="295">
                  <c:v>1.7890339398244699E-2</c:v>
                </c:pt>
                <c:pt idx="296">
                  <c:v>1.7780565110791201E-2</c:v>
                </c:pt>
                <c:pt idx="297">
                  <c:v>1.8341154358057801E-2</c:v>
                </c:pt>
                <c:pt idx="298">
                  <c:v>1.7076327187780498E-2</c:v>
                </c:pt>
                <c:pt idx="299">
                  <c:v>1.69412598197324E-2</c:v>
                </c:pt>
                <c:pt idx="300">
                  <c:v>1.56188634228192E-2</c:v>
                </c:pt>
                <c:pt idx="301">
                  <c:v>1.5587986572953801E-2</c:v>
                </c:pt>
                <c:pt idx="302">
                  <c:v>1.6892010204194601E-2</c:v>
                </c:pt>
                <c:pt idx="303">
                  <c:v>1.7756732384301602E-2</c:v>
                </c:pt>
                <c:pt idx="304">
                  <c:v>1.8137309739870901E-2</c:v>
                </c:pt>
                <c:pt idx="305">
                  <c:v>1.8405682672208299E-2</c:v>
                </c:pt>
                <c:pt idx="306">
                  <c:v>1.83048952569673E-2</c:v>
                </c:pt>
                <c:pt idx="307">
                  <c:v>1.6010145078337999E-2</c:v>
                </c:pt>
                <c:pt idx="308">
                  <c:v>1.5478773936455401E-2</c:v>
                </c:pt>
                <c:pt idx="309">
                  <c:v>1.57379075604605E-2</c:v>
                </c:pt>
                <c:pt idx="310">
                  <c:v>1.7013414514372899E-2</c:v>
                </c:pt>
                <c:pt idx="311">
                  <c:v>1.8721247775587299E-2</c:v>
                </c:pt>
                <c:pt idx="312">
                  <c:v>1.89554236466512E-2</c:v>
                </c:pt>
                <c:pt idx="313">
                  <c:v>1.7078914513368699E-2</c:v>
                </c:pt>
                <c:pt idx="314">
                  <c:v>1.6061229626916699E-2</c:v>
                </c:pt>
                <c:pt idx="315">
                  <c:v>1.5834409162034602E-2</c:v>
                </c:pt>
                <c:pt idx="316">
                  <c:v>1.7140495984255301E-2</c:v>
                </c:pt>
                <c:pt idx="317">
                  <c:v>1.8744373736095901E-2</c:v>
                </c:pt>
                <c:pt idx="318">
                  <c:v>1.9985938709134302E-2</c:v>
                </c:pt>
                <c:pt idx="319">
                  <c:v>1.86510975461462E-2</c:v>
                </c:pt>
                <c:pt idx="320">
                  <c:v>1.7228986339682801E-2</c:v>
                </c:pt>
                <c:pt idx="321">
                  <c:v>1.5668305174487002E-2</c:v>
                </c:pt>
                <c:pt idx="322">
                  <c:v>1.5140918326243501E-2</c:v>
                </c:pt>
                <c:pt idx="323">
                  <c:v>1.5980974608514099E-2</c:v>
                </c:pt>
                <c:pt idx="324">
                  <c:v>1.6070815691211899E-2</c:v>
                </c:pt>
                <c:pt idx="325">
                  <c:v>1.5958662977147799E-2</c:v>
                </c:pt>
                <c:pt idx="326">
                  <c:v>1.64564420471447E-2</c:v>
                </c:pt>
                <c:pt idx="327">
                  <c:v>1.5699780046657199E-2</c:v>
                </c:pt>
                <c:pt idx="328">
                  <c:v>1.3989546505154601E-2</c:v>
                </c:pt>
                <c:pt idx="329">
                  <c:v>1.39903781357492E-2</c:v>
                </c:pt>
                <c:pt idx="330">
                  <c:v>1.5688400784686401E-2</c:v>
                </c:pt>
                <c:pt idx="331">
                  <c:v>1.60836447374695E-2</c:v>
                </c:pt>
                <c:pt idx="332">
                  <c:v>1.5701046091667299E-2</c:v>
                </c:pt>
                <c:pt idx="333">
                  <c:v>1.54040926353212E-2</c:v>
                </c:pt>
                <c:pt idx="334">
                  <c:v>1.5514852557936E-2</c:v>
                </c:pt>
                <c:pt idx="335">
                  <c:v>1.4385808825888099E-2</c:v>
                </c:pt>
                <c:pt idx="336">
                  <c:v>1.38517891916913E-2</c:v>
                </c:pt>
                <c:pt idx="337">
                  <c:v>1.47277519699761E-2</c:v>
                </c:pt>
                <c:pt idx="338">
                  <c:v>1.4771295500025299E-2</c:v>
                </c:pt>
                <c:pt idx="339">
                  <c:v>1.47774531843522E-2</c:v>
                </c:pt>
                <c:pt idx="340">
                  <c:v>1.4831648794378E-2</c:v>
                </c:pt>
                <c:pt idx="341">
                  <c:v>1.47356566749694E-2</c:v>
                </c:pt>
                <c:pt idx="342">
                  <c:v>1.3487322852142601E-2</c:v>
                </c:pt>
                <c:pt idx="343">
                  <c:v>1.3143679319954501E-2</c:v>
                </c:pt>
                <c:pt idx="344">
                  <c:v>1.3065093383170299E-2</c:v>
                </c:pt>
                <c:pt idx="345">
                  <c:v>1.4010088646315901E-2</c:v>
                </c:pt>
                <c:pt idx="346">
                  <c:v>1.40653000637838E-2</c:v>
                </c:pt>
                <c:pt idx="347">
                  <c:v>1.42485502955799E-2</c:v>
                </c:pt>
                <c:pt idx="348">
                  <c:v>1.4068111663736499E-2</c:v>
                </c:pt>
                <c:pt idx="349">
                  <c:v>1.34146099541752E-2</c:v>
                </c:pt>
                <c:pt idx="350">
                  <c:v>1.2444384231447799E-2</c:v>
                </c:pt>
                <c:pt idx="351">
                  <c:v>1.35984589352037E-2</c:v>
                </c:pt>
                <c:pt idx="352">
                  <c:v>1.43391156585612E-2</c:v>
                </c:pt>
                <c:pt idx="353">
                  <c:v>1.5271708819951E-2</c:v>
                </c:pt>
                <c:pt idx="354">
                  <c:v>1.4720136063809499E-2</c:v>
                </c:pt>
                <c:pt idx="355">
                  <c:v>1.43586199238136E-2</c:v>
                </c:pt>
                <c:pt idx="356">
                  <c:v>1.4547643507513501E-2</c:v>
                </c:pt>
                <c:pt idx="357">
                  <c:v>1.3843154203241699E-2</c:v>
                </c:pt>
                <c:pt idx="358">
                  <c:v>1.45960540457989E-2</c:v>
                </c:pt>
                <c:pt idx="359">
                  <c:v>1.4158398203794101E-2</c:v>
                </c:pt>
                <c:pt idx="360">
                  <c:v>1.4010120135763001E-2</c:v>
                </c:pt>
                <c:pt idx="361">
                  <c:v>1.3714816235919599E-2</c:v>
                </c:pt>
                <c:pt idx="362">
                  <c:v>1.32273407248633E-2</c:v>
                </c:pt>
                <c:pt idx="363">
                  <c:v>1.26715102845048E-2</c:v>
                </c:pt>
                <c:pt idx="364">
                  <c:v>1.2551559732564801E-2</c:v>
                </c:pt>
                <c:pt idx="365">
                  <c:v>1.33378060921336E-2</c:v>
                </c:pt>
                <c:pt idx="366">
                  <c:v>1.3086437716060001E-2</c:v>
                </c:pt>
                <c:pt idx="367">
                  <c:v>1.3182132547772099E-2</c:v>
                </c:pt>
                <c:pt idx="368">
                  <c:v>1.3043848911463599E-2</c:v>
                </c:pt>
                <c:pt idx="369">
                  <c:v>1.26933686363257E-2</c:v>
                </c:pt>
                <c:pt idx="370">
                  <c:v>1.2625839394853599E-2</c:v>
                </c:pt>
                <c:pt idx="371">
                  <c:v>1.2467863461106499E-2</c:v>
                </c:pt>
                <c:pt idx="372">
                  <c:v>1.27796196735818E-2</c:v>
                </c:pt>
                <c:pt idx="373">
                  <c:v>1.3046141140061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37-4557-B7FA-36C728B3C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48739495798318E-2"/>
          <c:y val="2.9312288613303268E-2"/>
          <c:w val="0.9563025210084034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6B-4694-A8D8-B6F620664379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86B-4694-A8D8-B6F620664379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86B-4694-A8D8-B6F620664379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86B-4694-A8D8-B6F620664379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86B-4694-A8D8-B6F620664379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86B-4694-A8D8-B6F620664379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86B-4694-A8D8-B6F620664379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86B-4694-A8D8-B6F620664379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86B-4694-A8D8-B6F620664379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86B-4694-A8D8-B6F620664379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86B-4694-A8D8-B6F620664379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86B-4694-A8D8-B6F620664379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86B-4694-A8D8-B6F620664379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86B-4694-A8D8-B6F620664379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86B-4694-A8D8-B6F620664379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986B-4694-A8D8-B6F620664379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86B-4694-A8D8-B6F620664379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86B-4694-A8D8-B6F620664379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86B-4694-A8D8-B6F620664379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86B-4694-A8D8-B6F620664379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86B-4694-A8D8-B6F620664379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86B-4694-A8D8-B6F620664379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86B-4694-A8D8-B6F620664379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86B-4694-A8D8-B6F620664379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86B-4694-A8D8-B6F620664379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86B-4694-A8D8-B6F620664379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86B-4694-A8D8-B6F620664379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86B-4694-A8D8-B6F620664379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986B-4694-A8D8-B6F620664379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986B-4694-A8D8-B6F620664379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986B-4694-A8D8-B6F620664379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986B-4694-A8D8-B6F620664379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986B-4694-A8D8-B6F620664379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986B-4694-A8D8-B6F620664379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986B-4694-A8D8-B6F620664379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986B-4694-A8D8-B6F620664379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986B-4694-A8D8-B6F620664379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986B-4694-A8D8-B6F620664379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986B-4694-A8D8-B6F620664379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986B-4694-A8D8-B6F620664379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986B-4694-A8D8-B6F620664379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986B-4694-A8D8-B6F620664379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986B-4694-A8D8-B6F620664379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986B-4694-A8D8-B6F620664379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986B-4694-A8D8-B6F620664379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986B-4694-A8D8-B6F620664379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986B-4694-A8D8-B6F620664379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986B-4694-A8D8-B6F620664379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986B-4694-A8D8-B6F620664379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986B-4694-A8D8-B6F620664379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986B-4694-A8D8-B6F620664379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986B-4694-A8D8-B6F620664379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986B-4694-A8D8-B6F620664379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986B-4694-A8D8-B6F620664379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327354</c:v>
                </c:pt>
                <c:pt idx="1">
                  <c:v>347638</c:v>
                </c:pt>
                <c:pt idx="2">
                  <c:v>319124</c:v>
                </c:pt>
                <c:pt idx="3">
                  <c:v>269221</c:v>
                </c:pt>
                <c:pt idx="4">
                  <c:v>306693</c:v>
                </c:pt>
                <c:pt idx="5">
                  <c:v>433501</c:v>
                </c:pt>
                <c:pt idx="6">
                  <c:v>300296</c:v>
                </c:pt>
                <c:pt idx="7">
                  <c:v>311600</c:v>
                </c:pt>
                <c:pt idx="8">
                  <c:v>302108</c:v>
                </c:pt>
                <c:pt idx="9">
                  <c:v>266714</c:v>
                </c:pt>
                <c:pt idx="10">
                  <c:v>269135</c:v>
                </c:pt>
                <c:pt idx="11">
                  <c:v>268140</c:v>
                </c:pt>
                <c:pt idx="12">
                  <c:v>264356</c:v>
                </c:pt>
                <c:pt idx="13">
                  <c:v>274748</c:v>
                </c:pt>
                <c:pt idx="14">
                  <c:v>297067</c:v>
                </c:pt>
                <c:pt idx="15">
                  <c:v>311980</c:v>
                </c:pt>
                <c:pt idx="16">
                  <c:v>331907</c:v>
                </c:pt>
                <c:pt idx="17">
                  <c:v>449651</c:v>
                </c:pt>
                <c:pt idx="18">
                  <c:v>465959</c:v>
                </c:pt>
                <c:pt idx="19">
                  <c:v>426985</c:v>
                </c:pt>
                <c:pt idx="20">
                  <c:v>368596</c:v>
                </c:pt>
                <c:pt idx="21">
                  <c:v>357128</c:v>
                </c:pt>
                <c:pt idx="22">
                  <c:v>326892</c:v>
                </c:pt>
                <c:pt idx="23">
                  <c:v>410014</c:v>
                </c:pt>
                <c:pt idx="24">
                  <c:v>578220</c:v>
                </c:pt>
                <c:pt idx="25">
                  <c:v>830234</c:v>
                </c:pt>
                <c:pt idx="26">
                  <c:v>5361984</c:v>
                </c:pt>
                <c:pt idx="27">
                  <c:v>3635377</c:v>
                </c:pt>
                <c:pt idx="28">
                  <c:v>1088979</c:v>
                </c:pt>
                <c:pt idx="29">
                  <c:v>719353</c:v>
                </c:pt>
                <c:pt idx="30">
                  <c:v>1262274</c:v>
                </c:pt>
                <c:pt idx="31">
                  <c:v>1027547</c:v>
                </c:pt>
                <c:pt idx="32">
                  <c:v>1119504</c:v>
                </c:pt>
                <c:pt idx="33">
                  <c:v>811436</c:v>
                </c:pt>
                <c:pt idx="34">
                  <c:v>710528</c:v>
                </c:pt>
                <c:pt idx="35">
                  <c:v>410801</c:v>
                </c:pt>
                <c:pt idx="36">
                  <c:v>399723</c:v>
                </c:pt>
                <c:pt idx="37">
                  <c:v>473235</c:v>
                </c:pt>
                <c:pt idx="38">
                  <c:v>275736</c:v>
                </c:pt>
                <c:pt idx="39">
                  <c:v>339825</c:v>
                </c:pt>
                <c:pt idx="40">
                  <c:v>299595</c:v>
                </c:pt>
                <c:pt idx="41">
                  <c:v>292789</c:v>
                </c:pt>
                <c:pt idx="42">
                  <c:v>258638</c:v>
                </c:pt>
                <c:pt idx="43">
                  <c:v>340555</c:v>
                </c:pt>
                <c:pt idx="44">
                  <c:v>518811</c:v>
                </c:pt>
                <c:pt idx="45">
                  <c:v>718751</c:v>
                </c:pt>
                <c:pt idx="46">
                  <c:v>437267</c:v>
                </c:pt>
                <c:pt idx="47">
                  <c:v>312745</c:v>
                </c:pt>
                <c:pt idx="48">
                  <c:v>280967</c:v>
                </c:pt>
                <c:pt idx="49">
                  <c:v>233912</c:v>
                </c:pt>
                <c:pt idx="50">
                  <c:v>253315</c:v>
                </c:pt>
                <c:pt idx="51">
                  <c:v>226965</c:v>
                </c:pt>
                <c:pt idx="52">
                  <c:v>228815</c:v>
                </c:pt>
                <c:pt idx="53">
                  <c:v>224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986B-4694-A8D8-B6F620664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59652928416486E-2"/>
          <c:y val="2.9312288613303268E-2"/>
          <c:w val="0.9548806941431670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A15-45DD-9A1E-98FEAFBDD13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A15-45DD-9A1E-98FEAFBDD13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A15-45DD-9A1E-98FEAFBDD13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A15-45DD-9A1E-98FEAFBDD13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A15-45DD-9A1E-98FEAFBDD13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A15-45DD-9A1E-98FEAFBDD13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A15-45DD-9A1E-98FEAFBDD13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A15-45DD-9A1E-98FEAFBDD13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A15-45DD-9A1E-98FEAFBDD138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A15-45DD-9A1E-98FEAFBDD138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A15-45DD-9A1E-98FEAFBDD138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A15-45DD-9A1E-98FEAFBDD138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A15-45DD-9A1E-98FEAFBDD138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A15-45DD-9A1E-98FEAFBDD138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A15-45DD-9A1E-98FEAFBDD138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A15-45DD-9A1E-98FEAFBDD138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A15-45DD-9A1E-98FEAFBDD138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A15-45DD-9A1E-98FEAFBDD138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A15-45DD-9A1E-98FEAFBDD138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A15-45DD-9A1E-98FEAFBDD138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A15-45DD-9A1E-98FEAFBDD138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A15-45DD-9A1E-98FEAFBDD138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A15-45DD-9A1E-98FEAFBDD138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A15-45DD-9A1E-98FEAFBDD138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A15-45DD-9A1E-98FEAFBDD138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A15-45DD-9A1E-98FEAFBDD138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5A15-45DD-9A1E-98FEAFBDD138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5A15-45DD-9A1E-98FEAFBDD138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A15-45DD-9A1E-98FEAFBDD138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A15-45DD-9A1E-98FEAFBDD138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A15-45DD-9A1E-98FEAFBDD138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A15-45DD-9A1E-98FEAFBDD138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A15-45DD-9A1E-98FEAFBDD138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A15-45DD-9A1E-98FEAFBDD138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A15-45DD-9A1E-98FEAFBDD138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A15-45DD-9A1E-98FEAFBDD138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A15-45DD-9A1E-98FEAFBDD138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A15-45DD-9A1E-98FEAFBDD138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A15-45DD-9A1E-98FEAFBDD138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A15-45DD-9A1E-98FEAFBDD138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5A15-45DD-9A1E-98FEAFBDD138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5A15-45DD-9A1E-98FEAFBDD138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5A15-45DD-9A1E-98FEAFBDD138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5A15-45DD-9A1E-98FEAFBDD138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5A15-45DD-9A1E-98FEAFBDD138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5A15-45DD-9A1E-98FEAFBDD138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5A15-45DD-9A1E-98FEAFBDD138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5A15-45DD-9A1E-98FEAFBDD138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5A15-45DD-9A1E-98FEAFBDD138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5A15-45DD-9A1E-98FEAFBDD138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5A15-45DD-9A1E-98FEAFBDD138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5A15-45DD-9A1E-98FEAFBDD138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5A15-45DD-9A1E-98FEAFBDD138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5A15-45DD-9A1E-98FEAFBDD138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4134315</c:v>
                </c:pt>
                <c:pt idx="1">
                  <c:v>44272131</c:v>
                </c:pt>
                <c:pt idx="2">
                  <c:v>45060625</c:v>
                </c:pt>
                <c:pt idx="3">
                  <c:v>43941552</c:v>
                </c:pt>
                <c:pt idx="4">
                  <c:v>44644282</c:v>
                </c:pt>
                <c:pt idx="5">
                  <c:v>43519359</c:v>
                </c:pt>
                <c:pt idx="6">
                  <c:v>42088283</c:v>
                </c:pt>
                <c:pt idx="7">
                  <c:v>42869669</c:v>
                </c:pt>
                <c:pt idx="8">
                  <c:v>41903235</c:v>
                </c:pt>
                <c:pt idx="9">
                  <c:v>41952977</c:v>
                </c:pt>
                <c:pt idx="10">
                  <c:v>41822014</c:v>
                </c:pt>
                <c:pt idx="11">
                  <c:v>41625835</c:v>
                </c:pt>
                <c:pt idx="12">
                  <c:v>42529248</c:v>
                </c:pt>
                <c:pt idx="13">
                  <c:v>43092019</c:v>
                </c:pt>
                <c:pt idx="14">
                  <c:v>44617151</c:v>
                </c:pt>
                <c:pt idx="15">
                  <c:v>42572970</c:v>
                </c:pt>
                <c:pt idx="16">
                  <c:v>43981172</c:v>
                </c:pt>
                <c:pt idx="17">
                  <c:v>42466373</c:v>
                </c:pt>
                <c:pt idx="18">
                  <c:v>43939773</c:v>
                </c:pt>
                <c:pt idx="19">
                  <c:v>44034187</c:v>
                </c:pt>
                <c:pt idx="20">
                  <c:v>44268549</c:v>
                </c:pt>
                <c:pt idx="21">
                  <c:v>40654600</c:v>
                </c:pt>
                <c:pt idx="22">
                  <c:v>42109421</c:v>
                </c:pt>
                <c:pt idx="23">
                  <c:v>44678351</c:v>
                </c:pt>
                <c:pt idx="24">
                  <c:v>44364118</c:v>
                </c:pt>
                <c:pt idx="25">
                  <c:v>42782129</c:v>
                </c:pt>
                <c:pt idx="26">
                  <c:v>49858140</c:v>
                </c:pt>
                <c:pt idx="27">
                  <c:v>47558468</c:v>
                </c:pt>
                <c:pt idx="28">
                  <c:v>44716172</c:v>
                </c:pt>
                <c:pt idx="29">
                  <c:v>44331146</c:v>
                </c:pt>
                <c:pt idx="30">
                  <c:v>44417489</c:v>
                </c:pt>
                <c:pt idx="31">
                  <c:v>44388381</c:v>
                </c:pt>
                <c:pt idx="32">
                  <c:v>43721678</c:v>
                </c:pt>
                <c:pt idx="33">
                  <c:v>44108759</c:v>
                </c:pt>
                <c:pt idx="34">
                  <c:v>43251011</c:v>
                </c:pt>
                <c:pt idx="35">
                  <c:v>40684032</c:v>
                </c:pt>
                <c:pt idx="36">
                  <c:v>44458714</c:v>
                </c:pt>
                <c:pt idx="37">
                  <c:v>44094755</c:v>
                </c:pt>
                <c:pt idx="38">
                  <c:v>45354437</c:v>
                </c:pt>
                <c:pt idx="39">
                  <c:v>46996509</c:v>
                </c:pt>
                <c:pt idx="40">
                  <c:v>45792200</c:v>
                </c:pt>
                <c:pt idx="41">
                  <c:v>43945704</c:v>
                </c:pt>
                <c:pt idx="42">
                  <c:v>47627520</c:v>
                </c:pt>
                <c:pt idx="43">
                  <c:v>44762248</c:v>
                </c:pt>
                <c:pt idx="44">
                  <c:v>46085980</c:v>
                </c:pt>
                <c:pt idx="45">
                  <c:v>47316904</c:v>
                </c:pt>
                <c:pt idx="46">
                  <c:v>47408425</c:v>
                </c:pt>
                <c:pt idx="47">
                  <c:v>45308345</c:v>
                </c:pt>
                <c:pt idx="48">
                  <c:v>46453170</c:v>
                </c:pt>
                <c:pt idx="49">
                  <c:v>43773525</c:v>
                </c:pt>
                <c:pt idx="50">
                  <c:v>45400361</c:v>
                </c:pt>
                <c:pt idx="51">
                  <c:v>47093044</c:v>
                </c:pt>
                <c:pt idx="52">
                  <c:v>45670074</c:v>
                </c:pt>
                <c:pt idx="53">
                  <c:v>466377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5A15-45DD-9A1E-98FEAFBDD1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0000000"/>
          <c:min val="40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46507666098807E-2"/>
          <c:y val="3.4188034188034191E-2"/>
          <c:w val="0.9557069846678023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1</c:v>
                </c:pt>
                <c:pt idx="1">
                  <c:v>11</c:v>
                </c:pt>
                <c:pt idx="2">
                  <c:v>10</c:v>
                </c:pt>
                <c:pt idx="3">
                  <c:v>11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1</c:v>
                </c:pt>
                <c:pt idx="10">
                  <c:v>11</c:v>
                </c:pt>
                <c:pt idx="11">
                  <c:v>9</c:v>
                </c:pt>
                <c:pt idx="12">
                  <c:v>13</c:v>
                </c:pt>
                <c:pt idx="13">
                  <c:v>12</c:v>
                </c:pt>
                <c:pt idx="14">
                  <c:v>17</c:v>
                </c:pt>
                <c:pt idx="15">
                  <c:v>12</c:v>
                </c:pt>
                <c:pt idx="16">
                  <c:v>10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16</c:v>
                </c:pt>
                <c:pt idx="21">
                  <c:v>7</c:v>
                </c:pt>
                <c:pt idx="22">
                  <c:v>7</c:v>
                </c:pt>
                <c:pt idx="23">
                  <c:v>12</c:v>
                </c:pt>
                <c:pt idx="24">
                  <c:v>10</c:v>
                </c:pt>
                <c:pt idx="25">
                  <c:v>8</c:v>
                </c:pt>
                <c:pt idx="26">
                  <c:v>11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8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8</c:v>
                </c:pt>
                <c:pt idx="42">
                  <c:v>7</c:v>
                </c:pt>
                <c:pt idx="43">
                  <c:v>8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7</c:v>
                </c:pt>
                <c:pt idx="48">
                  <c:v>7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0B-454D-B379-F5D5F6EDE72E}"/>
            </c:ext>
          </c:extLst>
        </c:ser>
        <c:ser>
          <c:idx val="1"/>
          <c:order val="1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100</c:v>
                </c:pt>
                <c:pt idx="27">
                  <c:v>51</c:v>
                </c:pt>
                <c:pt idx="28">
                  <c:v>16</c:v>
                </c:pt>
                <c:pt idx="29">
                  <c:v>7</c:v>
                </c:pt>
                <c:pt idx="30">
                  <c:v>11</c:v>
                </c:pt>
                <c:pt idx="31">
                  <c:v>8</c:v>
                </c:pt>
                <c:pt idx="32">
                  <c:v>7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3</c:v>
                </c:pt>
                <c:pt idx="39">
                  <c:v>4</c:v>
                </c:pt>
                <c:pt idx="40">
                  <c:v>3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6</c:v>
                </c:pt>
                <c:pt idx="45">
                  <c:v>7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0B-454D-B379-F5D5F6EDE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11899791231733E-2"/>
          <c:y val="3.4188034188034191E-2"/>
          <c:w val="0.9565762004175365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CE0E2D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2:$YS$2</c:f>
              <c:numCache>
                <c:formatCode>General</c:formatCode>
                <c:ptCount val="669"/>
                <c:pt idx="0">
                  <c:v>4.6237000000000004</c:v>
                </c:pt>
                <c:pt idx="1">
                  <c:v>4.5369999999999999</c:v>
                </c:pt>
                <c:pt idx="2">
                  <c:v>4.4130000000000003</c:v>
                </c:pt>
                <c:pt idx="3">
                  <c:v>4.4192</c:v>
                </c:pt>
                <c:pt idx="4">
                  <c:v>4.1031000000000004</c:v>
                </c:pt>
                <c:pt idx="5">
                  <c:v>4.0038999999999998</c:v>
                </c:pt>
                <c:pt idx="6">
                  <c:v>4.0101000000000004</c:v>
                </c:pt>
                <c:pt idx="7">
                  <c:v>4.0659000000000001</c:v>
                </c:pt>
                <c:pt idx="8">
                  <c:v>4.2457000000000003</c:v>
                </c:pt>
                <c:pt idx="9">
                  <c:v>4.4067999999999996</c:v>
                </c:pt>
                <c:pt idx="10">
                  <c:v>4.5431999999999997</c:v>
                </c:pt>
                <c:pt idx="11">
                  <c:v>4.5122</c:v>
                </c:pt>
                <c:pt idx="12">
                  <c:v>4.4501999999999997</c:v>
                </c:pt>
                <c:pt idx="13">
                  <c:v>4.32</c:v>
                </c:pt>
                <c:pt idx="14">
                  <c:v>4.2146999999999997</c:v>
                </c:pt>
                <c:pt idx="15">
                  <c:v>4.1775000000000002</c:v>
                </c:pt>
                <c:pt idx="16">
                  <c:v>3.9419</c:v>
                </c:pt>
                <c:pt idx="17">
                  <c:v>4.2084999999999999</c:v>
                </c:pt>
                <c:pt idx="18">
                  <c:v>4.1961000000000004</c:v>
                </c:pt>
                <c:pt idx="19">
                  <c:v>4.2394999999999996</c:v>
                </c:pt>
                <c:pt idx="20">
                  <c:v>4.0411000000000001</c:v>
                </c:pt>
                <c:pt idx="21">
                  <c:v>3.9977</c:v>
                </c:pt>
                <c:pt idx="22">
                  <c:v>4.1216999999999997</c:v>
                </c:pt>
                <c:pt idx="23">
                  <c:v>4.3385999999999996</c:v>
                </c:pt>
                <c:pt idx="24">
                  <c:v>4.1837</c:v>
                </c:pt>
                <c:pt idx="25">
                  <c:v>4.0597000000000003</c:v>
                </c:pt>
                <c:pt idx="26">
                  <c:v>4.2084999999999999</c:v>
                </c:pt>
                <c:pt idx="27">
                  <c:v>4.3014000000000001</c:v>
                </c:pt>
                <c:pt idx="28">
                  <c:v>4.2518000000000002</c:v>
                </c:pt>
                <c:pt idx="29">
                  <c:v>4.3385999999999996</c:v>
                </c:pt>
                <c:pt idx="30">
                  <c:v>4.4005999999999998</c:v>
                </c:pt>
                <c:pt idx="31">
                  <c:v>4.3634000000000004</c:v>
                </c:pt>
                <c:pt idx="32">
                  <c:v>4.5308000000000002</c:v>
                </c:pt>
                <c:pt idx="33">
                  <c:v>4.8097000000000003</c:v>
                </c:pt>
                <c:pt idx="34">
                  <c:v>4.6237000000000004</c:v>
                </c:pt>
                <c:pt idx="35">
                  <c:v>4.3696000000000002</c:v>
                </c:pt>
                <c:pt idx="36">
                  <c:v>4.0597000000000003</c:v>
                </c:pt>
                <c:pt idx="37">
                  <c:v>3.6753999999999998</c:v>
                </c:pt>
                <c:pt idx="38">
                  <c:v>3.7746</c:v>
                </c:pt>
                <c:pt idx="39">
                  <c:v>3.88</c:v>
                </c:pt>
                <c:pt idx="40">
                  <c:v>3.7869999999999999</c:v>
                </c:pt>
                <c:pt idx="41">
                  <c:v>3.6011000000000002</c:v>
                </c:pt>
                <c:pt idx="42">
                  <c:v>3.6073</c:v>
                </c:pt>
                <c:pt idx="43">
                  <c:v>3.0493999999999999</c:v>
                </c:pt>
                <c:pt idx="44">
                  <c:v>2.8077000000000001</c:v>
                </c:pt>
                <c:pt idx="45">
                  <c:v>2.3862000000000001</c:v>
                </c:pt>
                <c:pt idx="46">
                  <c:v>2.6032000000000002</c:v>
                </c:pt>
                <c:pt idx="47">
                  <c:v>2.2561</c:v>
                </c:pt>
                <c:pt idx="48">
                  <c:v>1.8036000000000001</c:v>
                </c:pt>
                <c:pt idx="49">
                  <c:v>1.9958</c:v>
                </c:pt>
                <c:pt idx="50">
                  <c:v>1.6114999999999999</c:v>
                </c:pt>
                <c:pt idx="51">
                  <c:v>1.5370999999999999</c:v>
                </c:pt>
                <c:pt idx="52">
                  <c:v>1.5308999999999999</c:v>
                </c:pt>
                <c:pt idx="53">
                  <c:v>2.0886999999999998</c:v>
                </c:pt>
                <c:pt idx="54">
                  <c:v>1.9772000000000001</c:v>
                </c:pt>
                <c:pt idx="55">
                  <c:v>1.9523999999999999</c:v>
                </c:pt>
                <c:pt idx="56">
                  <c:v>2.2065000000000001</c:v>
                </c:pt>
                <c:pt idx="57">
                  <c:v>2.1444999999999999</c:v>
                </c:pt>
                <c:pt idx="58">
                  <c:v>2.2932999999999999</c:v>
                </c:pt>
                <c:pt idx="59">
                  <c:v>2.2313000000000001</c:v>
                </c:pt>
                <c:pt idx="60">
                  <c:v>1.8842000000000001</c:v>
                </c:pt>
                <c:pt idx="61">
                  <c:v>1.9585999999999999</c:v>
                </c:pt>
                <c:pt idx="62">
                  <c:v>1.6238999999999999</c:v>
                </c:pt>
                <c:pt idx="63">
                  <c:v>1.3884000000000001</c:v>
                </c:pt>
                <c:pt idx="64">
                  <c:v>1.407</c:v>
                </c:pt>
                <c:pt idx="65">
                  <c:v>1.7849999999999999</c:v>
                </c:pt>
                <c:pt idx="66">
                  <c:v>1.9461999999999999</c:v>
                </c:pt>
                <c:pt idx="67">
                  <c:v>2.0453000000000001</c:v>
                </c:pt>
                <c:pt idx="68">
                  <c:v>1.6114999999999999</c:v>
                </c:pt>
                <c:pt idx="69">
                  <c:v>1.2891999999999999</c:v>
                </c:pt>
                <c:pt idx="70">
                  <c:v>1.3512</c:v>
                </c:pt>
                <c:pt idx="71">
                  <c:v>1.4937</c:v>
                </c:pt>
                <c:pt idx="72">
                  <c:v>1.5123</c:v>
                </c:pt>
                <c:pt idx="73">
                  <c:v>1.9834000000000001</c:v>
                </c:pt>
                <c:pt idx="74">
                  <c:v>1.9710000000000001</c:v>
                </c:pt>
                <c:pt idx="75">
                  <c:v>2.0144000000000002</c:v>
                </c:pt>
                <c:pt idx="76">
                  <c:v>1.9710000000000001</c:v>
                </c:pt>
                <c:pt idx="77">
                  <c:v>1.9276</c:v>
                </c:pt>
                <c:pt idx="78">
                  <c:v>1.8904000000000001</c:v>
                </c:pt>
                <c:pt idx="79">
                  <c:v>2.0825</c:v>
                </c:pt>
                <c:pt idx="80">
                  <c:v>2.5659999999999998</c:v>
                </c:pt>
                <c:pt idx="81">
                  <c:v>3.2168000000000001</c:v>
                </c:pt>
                <c:pt idx="82">
                  <c:v>3.0493999999999999</c:v>
                </c:pt>
                <c:pt idx="83">
                  <c:v>2.8325</c:v>
                </c:pt>
                <c:pt idx="84">
                  <c:v>2.6652</c:v>
                </c:pt>
                <c:pt idx="85">
                  <c:v>2.411</c:v>
                </c:pt>
                <c:pt idx="86">
                  <c:v>2.4296000000000002</c:v>
                </c:pt>
                <c:pt idx="87">
                  <c:v>2.4729999999999999</c:v>
                </c:pt>
                <c:pt idx="88">
                  <c:v>2.5411999999999999</c:v>
                </c:pt>
                <c:pt idx="89">
                  <c:v>3.2974000000000001</c:v>
                </c:pt>
                <c:pt idx="90">
                  <c:v>3.1734</c:v>
                </c:pt>
                <c:pt idx="91">
                  <c:v>2.8511000000000002</c:v>
                </c:pt>
                <c:pt idx="92">
                  <c:v>2.8201000000000001</c:v>
                </c:pt>
                <c:pt idx="93">
                  <c:v>2.8014999999999999</c:v>
                </c:pt>
                <c:pt idx="94">
                  <c:v>2.9255</c:v>
                </c:pt>
                <c:pt idx="95">
                  <c:v>2.8262999999999998</c:v>
                </c:pt>
                <c:pt idx="96">
                  <c:v>2.8883000000000001</c:v>
                </c:pt>
                <c:pt idx="97">
                  <c:v>2.8696999999999999</c:v>
                </c:pt>
                <c:pt idx="98">
                  <c:v>2.8386999999999998</c:v>
                </c:pt>
                <c:pt idx="99">
                  <c:v>3.1671999999999998</c:v>
                </c:pt>
                <c:pt idx="100">
                  <c:v>3.4708999999999999</c:v>
                </c:pt>
                <c:pt idx="101">
                  <c:v>3.1423999999999999</c:v>
                </c:pt>
                <c:pt idx="102">
                  <c:v>3.1796000000000002</c:v>
                </c:pt>
                <c:pt idx="103">
                  <c:v>3.2911999999999999</c:v>
                </c:pt>
                <c:pt idx="104">
                  <c:v>3.4647000000000001</c:v>
                </c:pt>
                <c:pt idx="105">
                  <c:v>3.3778999999999999</c:v>
                </c:pt>
                <c:pt idx="106">
                  <c:v>3.3344999999999998</c:v>
                </c:pt>
                <c:pt idx="107">
                  <c:v>3.6629999999999998</c:v>
                </c:pt>
                <c:pt idx="108">
                  <c:v>3.9977</c:v>
                </c:pt>
                <c:pt idx="109">
                  <c:v>3.7126000000000001</c:v>
                </c:pt>
                <c:pt idx="110">
                  <c:v>3.8986000000000001</c:v>
                </c:pt>
                <c:pt idx="111">
                  <c:v>3.2044000000000001</c:v>
                </c:pt>
                <c:pt idx="112">
                  <c:v>3.6505999999999998</c:v>
                </c:pt>
                <c:pt idx="113">
                  <c:v>3.5949</c:v>
                </c:pt>
                <c:pt idx="114">
                  <c:v>3.4460999999999999</c:v>
                </c:pt>
                <c:pt idx="115">
                  <c:v>3.3593000000000002</c:v>
                </c:pt>
                <c:pt idx="116">
                  <c:v>3.4895</c:v>
                </c:pt>
                <c:pt idx="117">
                  <c:v>3.4213</c:v>
                </c:pt>
                <c:pt idx="118">
                  <c:v>3.3035000000000001</c:v>
                </c:pt>
                <c:pt idx="119">
                  <c:v>3.161</c:v>
                </c:pt>
                <c:pt idx="120">
                  <c:v>2.9689000000000001</c:v>
                </c:pt>
                <c:pt idx="121">
                  <c:v>2.6465999999999998</c:v>
                </c:pt>
                <c:pt idx="122">
                  <c:v>2.5908000000000002</c:v>
                </c:pt>
                <c:pt idx="123">
                  <c:v>2.7395</c:v>
                </c:pt>
                <c:pt idx="124">
                  <c:v>2.6589999999999998</c:v>
                </c:pt>
                <c:pt idx="125">
                  <c:v>2.8325</c:v>
                </c:pt>
                <c:pt idx="126">
                  <c:v>2.8077000000000001</c:v>
                </c:pt>
                <c:pt idx="127">
                  <c:v>2.6528</c:v>
                </c:pt>
                <c:pt idx="128">
                  <c:v>2.5598000000000001</c:v>
                </c:pt>
                <c:pt idx="129">
                  <c:v>2.7456999999999998</c:v>
                </c:pt>
                <c:pt idx="130">
                  <c:v>2.8325</c:v>
                </c:pt>
                <c:pt idx="131">
                  <c:v>2.8511000000000002</c:v>
                </c:pt>
                <c:pt idx="132">
                  <c:v>2.6404000000000001</c:v>
                </c:pt>
                <c:pt idx="133">
                  <c:v>2.6156000000000001</c:v>
                </c:pt>
                <c:pt idx="134">
                  <c:v>2.7890999999999999</c:v>
                </c:pt>
                <c:pt idx="135">
                  <c:v>2.7147000000000001</c:v>
                </c:pt>
                <c:pt idx="136">
                  <c:v>2.6465999999999998</c:v>
                </c:pt>
                <c:pt idx="137">
                  <c:v>2.5722</c:v>
                </c:pt>
                <c:pt idx="138">
                  <c:v>2.5722</c:v>
                </c:pt>
                <c:pt idx="139">
                  <c:v>2.4977999999999998</c:v>
                </c:pt>
                <c:pt idx="140">
                  <c:v>2.5164</c:v>
                </c:pt>
                <c:pt idx="141">
                  <c:v>2.4792000000000001</c:v>
                </c:pt>
                <c:pt idx="142">
                  <c:v>2.3986000000000001</c:v>
                </c:pt>
                <c:pt idx="143">
                  <c:v>2.5722</c:v>
                </c:pt>
                <c:pt idx="144">
                  <c:v>2.5783999999999998</c:v>
                </c:pt>
                <c:pt idx="145">
                  <c:v>2.5535999999999999</c:v>
                </c:pt>
                <c:pt idx="146">
                  <c:v>2.504</c:v>
                </c:pt>
                <c:pt idx="147">
                  <c:v>2.5474000000000001</c:v>
                </c:pt>
                <c:pt idx="148">
                  <c:v>2.5411999999999999</c:v>
                </c:pt>
                <c:pt idx="149">
                  <c:v>2.5722</c:v>
                </c:pt>
                <c:pt idx="150">
                  <c:v>2.5659999999999998</c:v>
                </c:pt>
                <c:pt idx="151">
                  <c:v>2.9441000000000002</c:v>
                </c:pt>
                <c:pt idx="152">
                  <c:v>2.7705000000000002</c:v>
                </c:pt>
                <c:pt idx="153">
                  <c:v>2.8262999999999998</c:v>
                </c:pt>
                <c:pt idx="154">
                  <c:v>2.8759000000000001</c:v>
                </c:pt>
                <c:pt idx="155">
                  <c:v>3.2911999999999999</c:v>
                </c:pt>
                <c:pt idx="156">
                  <c:v>3.4337</c:v>
                </c:pt>
                <c:pt idx="157">
                  <c:v>3.4708999999999999</c:v>
                </c:pt>
                <c:pt idx="158">
                  <c:v>3.3159000000000001</c:v>
                </c:pt>
                <c:pt idx="159">
                  <c:v>3.3407</c:v>
                </c:pt>
                <c:pt idx="160">
                  <c:v>3.5266999999999999</c:v>
                </c:pt>
                <c:pt idx="161">
                  <c:v>3.2168000000000001</c:v>
                </c:pt>
                <c:pt idx="162">
                  <c:v>3.3531</c:v>
                </c:pt>
                <c:pt idx="163">
                  <c:v>3.4337</c:v>
                </c:pt>
                <c:pt idx="164">
                  <c:v>3.4708999999999999</c:v>
                </c:pt>
                <c:pt idx="165">
                  <c:v>4.0411000000000001</c:v>
                </c:pt>
                <c:pt idx="166">
                  <c:v>3.9047999999999998</c:v>
                </c:pt>
                <c:pt idx="167">
                  <c:v>3.6444000000000001</c:v>
                </c:pt>
                <c:pt idx="168">
                  <c:v>3.7622</c:v>
                </c:pt>
                <c:pt idx="169">
                  <c:v>4.3634000000000004</c:v>
                </c:pt>
                <c:pt idx="170">
                  <c:v>4.0907</c:v>
                </c:pt>
                <c:pt idx="171">
                  <c:v>4.351</c:v>
                </c:pt>
                <c:pt idx="172">
                  <c:v>3.9790999999999999</c:v>
                </c:pt>
                <c:pt idx="173">
                  <c:v>3.88</c:v>
                </c:pt>
                <c:pt idx="174">
                  <c:v>3.6816</c:v>
                </c:pt>
                <c:pt idx="175">
                  <c:v>3.5886999999999998</c:v>
                </c:pt>
                <c:pt idx="176">
                  <c:v>3.4337</c:v>
                </c:pt>
                <c:pt idx="177">
                  <c:v>3.4213</c:v>
                </c:pt>
                <c:pt idx="178">
                  <c:v>3.5701000000000001</c:v>
                </c:pt>
                <c:pt idx="179">
                  <c:v>3.5453000000000001</c:v>
                </c:pt>
                <c:pt idx="180">
                  <c:v>3.5143</c:v>
                </c:pt>
                <c:pt idx="181">
                  <c:v>3.2974000000000001</c:v>
                </c:pt>
                <c:pt idx="182">
                  <c:v>3.2292000000000001</c:v>
                </c:pt>
                <c:pt idx="183">
                  <c:v>2.9626999999999999</c:v>
                </c:pt>
                <c:pt idx="184">
                  <c:v>2.8573</c:v>
                </c:pt>
                <c:pt idx="185">
                  <c:v>3.0246</c:v>
                </c:pt>
                <c:pt idx="186">
                  <c:v>3.0432000000000001</c:v>
                </c:pt>
                <c:pt idx="187">
                  <c:v>3.0122</c:v>
                </c:pt>
                <c:pt idx="188">
                  <c:v>2.9192999999999998</c:v>
                </c:pt>
                <c:pt idx="189">
                  <c:v>2.8820999999999999</c:v>
                </c:pt>
                <c:pt idx="190">
                  <c:v>2.8820999999999999</c:v>
                </c:pt>
                <c:pt idx="191">
                  <c:v>2.5598000000000001</c:v>
                </c:pt>
                <c:pt idx="192">
                  <c:v>2.5164</c:v>
                </c:pt>
                <c:pt idx="193">
                  <c:v>2.504</c:v>
                </c:pt>
                <c:pt idx="194">
                  <c:v>2.5659999999999998</c:v>
                </c:pt>
                <c:pt idx="195">
                  <c:v>2.5102000000000002</c:v>
                </c:pt>
                <c:pt idx="196">
                  <c:v>2.5287999999999999</c:v>
                </c:pt>
                <c:pt idx="197">
                  <c:v>2.1941000000000002</c:v>
                </c:pt>
                <c:pt idx="198">
                  <c:v>1.8346</c:v>
                </c:pt>
                <c:pt idx="199">
                  <c:v>1.7231000000000001</c:v>
                </c:pt>
                <c:pt idx="200">
                  <c:v>1.8842000000000001</c:v>
                </c:pt>
                <c:pt idx="201">
                  <c:v>2.1941000000000002</c:v>
                </c:pt>
                <c:pt idx="202">
                  <c:v>1.9152</c:v>
                </c:pt>
                <c:pt idx="203">
                  <c:v>1.8593999999999999</c:v>
                </c:pt>
                <c:pt idx="204">
                  <c:v>1.9338</c:v>
                </c:pt>
                <c:pt idx="205">
                  <c:v>1.8408</c:v>
                </c:pt>
                <c:pt idx="206">
                  <c:v>1.7044999999999999</c:v>
                </c:pt>
                <c:pt idx="207">
                  <c:v>1.7293000000000001</c:v>
                </c:pt>
                <c:pt idx="208">
                  <c:v>1.6176999999999999</c:v>
                </c:pt>
                <c:pt idx="209">
                  <c:v>1.5619000000000001</c:v>
                </c:pt>
                <c:pt idx="210">
                  <c:v>1.4626999999999999</c:v>
                </c:pt>
                <c:pt idx="211">
                  <c:v>1.3326</c:v>
                </c:pt>
                <c:pt idx="212">
                  <c:v>1.4502999999999999</c:v>
                </c:pt>
                <c:pt idx="213">
                  <c:v>1.4317</c:v>
                </c:pt>
                <c:pt idx="214">
                  <c:v>1.5246999999999999</c:v>
                </c:pt>
                <c:pt idx="215">
                  <c:v>1.5432999999999999</c:v>
                </c:pt>
                <c:pt idx="216">
                  <c:v>2.3367</c:v>
                </c:pt>
                <c:pt idx="217">
                  <c:v>2.1755</c:v>
                </c:pt>
                <c:pt idx="218">
                  <c:v>1.94</c:v>
                </c:pt>
                <c:pt idx="219">
                  <c:v>1.8222</c:v>
                </c:pt>
                <c:pt idx="220">
                  <c:v>1.8408</c:v>
                </c:pt>
                <c:pt idx="221">
                  <c:v>1.9276</c:v>
                </c:pt>
                <c:pt idx="222">
                  <c:v>1.847</c:v>
                </c:pt>
                <c:pt idx="223">
                  <c:v>2.0206</c:v>
                </c:pt>
                <c:pt idx="224">
                  <c:v>1.9772000000000001</c:v>
                </c:pt>
                <c:pt idx="225">
                  <c:v>2.0762999999999998</c:v>
                </c:pt>
                <c:pt idx="226">
                  <c:v>2.3614000000000002</c:v>
                </c:pt>
                <c:pt idx="227">
                  <c:v>2.8386999999999998</c:v>
                </c:pt>
                <c:pt idx="228">
                  <c:v>2.7829000000000002</c:v>
                </c:pt>
                <c:pt idx="229">
                  <c:v>2.7581000000000002</c:v>
                </c:pt>
                <c:pt idx="230">
                  <c:v>2.6465999999999998</c:v>
                </c:pt>
                <c:pt idx="231">
                  <c:v>2.5722</c:v>
                </c:pt>
                <c:pt idx="232">
                  <c:v>2.6775000000000002</c:v>
                </c:pt>
                <c:pt idx="233">
                  <c:v>2.2498999999999998</c:v>
                </c:pt>
                <c:pt idx="234">
                  <c:v>2.1755</c:v>
                </c:pt>
                <c:pt idx="235">
                  <c:v>2.2065000000000001</c:v>
                </c:pt>
                <c:pt idx="236">
                  <c:v>2.4668000000000001</c:v>
                </c:pt>
                <c:pt idx="237">
                  <c:v>2.3923999999999999</c:v>
                </c:pt>
                <c:pt idx="238">
                  <c:v>2.5350000000000001</c:v>
                </c:pt>
                <c:pt idx="239">
                  <c:v>2.4296000000000002</c:v>
                </c:pt>
                <c:pt idx="240">
                  <c:v>1.9772000000000001</c:v>
                </c:pt>
                <c:pt idx="241">
                  <c:v>1.7726</c:v>
                </c:pt>
                <c:pt idx="242">
                  <c:v>1.7231000000000001</c:v>
                </c:pt>
                <c:pt idx="243">
                  <c:v>1.7664</c:v>
                </c:pt>
                <c:pt idx="244">
                  <c:v>1.7354000000000001</c:v>
                </c:pt>
                <c:pt idx="245">
                  <c:v>1.6611</c:v>
                </c:pt>
                <c:pt idx="246">
                  <c:v>1.6052999999999999</c:v>
                </c:pt>
                <c:pt idx="247">
                  <c:v>1.5867</c:v>
                </c:pt>
                <c:pt idx="248">
                  <c:v>1.5557000000000001</c:v>
                </c:pt>
                <c:pt idx="249">
                  <c:v>1.4813000000000001</c:v>
                </c:pt>
                <c:pt idx="250">
                  <c:v>1.4193</c:v>
                </c:pt>
                <c:pt idx="251">
                  <c:v>1.3388</c:v>
                </c:pt>
                <c:pt idx="252">
                  <c:v>1.3140000000000001</c:v>
                </c:pt>
                <c:pt idx="253">
                  <c:v>1.2458</c:v>
                </c:pt>
                <c:pt idx="254">
                  <c:v>1.2272000000000001</c:v>
                </c:pt>
                <c:pt idx="255">
                  <c:v>1.2458</c:v>
                </c:pt>
                <c:pt idx="256">
                  <c:v>1.2706</c:v>
                </c:pt>
                <c:pt idx="257">
                  <c:v>1.3264</c:v>
                </c:pt>
                <c:pt idx="258">
                  <c:v>1.3635999999999999</c:v>
                </c:pt>
                <c:pt idx="259">
                  <c:v>1.4193</c:v>
                </c:pt>
                <c:pt idx="260">
                  <c:v>1.3512</c:v>
                </c:pt>
                <c:pt idx="261">
                  <c:v>1.3512</c:v>
                </c:pt>
                <c:pt idx="262">
                  <c:v>1.4440999999999999</c:v>
                </c:pt>
                <c:pt idx="263">
                  <c:v>1.8966000000000001</c:v>
                </c:pt>
                <c:pt idx="264">
                  <c:v>1.8408</c:v>
                </c:pt>
                <c:pt idx="265">
                  <c:v>1.847</c:v>
                </c:pt>
                <c:pt idx="266">
                  <c:v>2.1755</c:v>
                </c:pt>
                <c:pt idx="267">
                  <c:v>2.7395</c:v>
                </c:pt>
                <c:pt idx="268">
                  <c:v>3.0741999999999998</c:v>
                </c:pt>
                <c:pt idx="269">
                  <c:v>12.334099999999999</c:v>
                </c:pt>
                <c:pt idx="270">
                  <c:v>5.3489000000000004</c:v>
                </c:pt>
                <c:pt idx="271">
                  <c:v>8.2186000000000003</c:v>
                </c:pt>
                <c:pt idx="272">
                  <c:v>8.2433999999999994</c:v>
                </c:pt>
                <c:pt idx="273">
                  <c:v>4.8468999999999998</c:v>
                </c:pt>
                <c:pt idx="274">
                  <c:v>5.5595999999999997</c:v>
                </c:pt>
                <c:pt idx="275">
                  <c:v>4.3944000000000001</c:v>
                </c:pt>
                <c:pt idx="276">
                  <c:v>4.2332999999999998</c:v>
                </c:pt>
                <c:pt idx="277">
                  <c:v>3.8304</c:v>
                </c:pt>
                <c:pt idx="278">
                  <c:v>3.4089</c:v>
                </c:pt>
                <c:pt idx="279">
                  <c:v>3.5949</c:v>
                </c:pt>
                <c:pt idx="280">
                  <c:v>3.4771000000000001</c:v>
                </c:pt>
                <c:pt idx="281">
                  <c:v>3.4647000000000001</c:v>
                </c:pt>
                <c:pt idx="282">
                  <c:v>3.5019</c:v>
                </c:pt>
                <c:pt idx="283">
                  <c:v>3.4399000000000002</c:v>
                </c:pt>
                <c:pt idx="284">
                  <c:v>3.4150999999999998</c:v>
                </c:pt>
                <c:pt idx="285">
                  <c:v>3.5329000000000002</c:v>
                </c:pt>
                <c:pt idx="286">
                  <c:v>4.0597000000000003</c:v>
                </c:pt>
                <c:pt idx="287">
                  <c:v>4.7725</c:v>
                </c:pt>
                <c:pt idx="288">
                  <c:v>5.6340000000000003</c:v>
                </c:pt>
                <c:pt idx="289">
                  <c:v>5.1382000000000003</c:v>
                </c:pt>
                <c:pt idx="290">
                  <c:v>4.9645999999999999</c:v>
                </c:pt>
                <c:pt idx="291">
                  <c:v>5.6898</c:v>
                </c:pt>
                <c:pt idx="292">
                  <c:v>5.5347999999999997</c:v>
                </c:pt>
                <c:pt idx="293">
                  <c:v>5.3178999999999998</c:v>
                </c:pt>
                <c:pt idx="294">
                  <c:v>4.9770000000000003</c:v>
                </c:pt>
                <c:pt idx="295">
                  <c:v>4.9893999999999998</c:v>
                </c:pt>
                <c:pt idx="296">
                  <c:v>5.758</c:v>
                </c:pt>
                <c:pt idx="297">
                  <c:v>6.5079000000000002</c:v>
                </c:pt>
                <c:pt idx="298">
                  <c:v>6.1051000000000002</c:v>
                </c:pt>
                <c:pt idx="299">
                  <c:v>6.3715999999999999</c:v>
                </c:pt>
                <c:pt idx="300">
                  <c:v>6.9169999999999998</c:v>
                </c:pt>
                <c:pt idx="301">
                  <c:v>8.702</c:v>
                </c:pt>
                <c:pt idx="302">
                  <c:v>8.0698000000000008</c:v>
                </c:pt>
                <c:pt idx="303">
                  <c:v>8.4045000000000005</c:v>
                </c:pt>
                <c:pt idx="304">
                  <c:v>8.6771999999999991</c:v>
                </c:pt>
                <c:pt idx="305">
                  <c:v>8.6339000000000006</c:v>
                </c:pt>
                <c:pt idx="306">
                  <c:v>7.7412999999999998</c:v>
                </c:pt>
                <c:pt idx="307">
                  <c:v>6.6071</c:v>
                </c:pt>
                <c:pt idx="308">
                  <c:v>5.5906000000000002</c:v>
                </c:pt>
                <c:pt idx="309">
                  <c:v>6.7805999999999997</c:v>
                </c:pt>
                <c:pt idx="310">
                  <c:v>6.3468</c:v>
                </c:pt>
                <c:pt idx="311">
                  <c:v>6.415</c:v>
                </c:pt>
                <c:pt idx="312">
                  <c:v>6.415</c:v>
                </c:pt>
                <c:pt idx="313">
                  <c:v>6.3281999999999998</c:v>
                </c:pt>
                <c:pt idx="314">
                  <c:v>5.8014000000000001</c:v>
                </c:pt>
                <c:pt idx="315">
                  <c:v>6.5761000000000003</c:v>
                </c:pt>
                <c:pt idx="316">
                  <c:v>6.3220000000000001</c:v>
                </c:pt>
                <c:pt idx="317">
                  <c:v>6.1051000000000002</c:v>
                </c:pt>
                <c:pt idx="318">
                  <c:v>6.0678999999999998</c:v>
                </c:pt>
                <c:pt idx="319">
                  <c:v>5.8384999999999998</c:v>
                </c:pt>
                <c:pt idx="320">
                  <c:v>5.3426999999999998</c:v>
                </c:pt>
                <c:pt idx="321">
                  <c:v>5.4790999999999999</c:v>
                </c:pt>
                <c:pt idx="322">
                  <c:v>5.7952000000000004</c:v>
                </c:pt>
                <c:pt idx="323">
                  <c:v>6.1360000000000001</c:v>
                </c:pt>
                <c:pt idx="324">
                  <c:v>5.7827999999999999</c:v>
                </c:pt>
                <c:pt idx="325">
                  <c:v>5.9873000000000003</c:v>
                </c:pt>
                <c:pt idx="326">
                  <c:v>5.7518000000000002</c:v>
                </c:pt>
                <c:pt idx="327">
                  <c:v>6.0617000000000001</c:v>
                </c:pt>
                <c:pt idx="328">
                  <c:v>6.1917999999999997</c:v>
                </c:pt>
                <c:pt idx="329">
                  <c:v>6.2972000000000001</c:v>
                </c:pt>
                <c:pt idx="330">
                  <c:v>7.1276999999999999</c:v>
                </c:pt>
                <c:pt idx="331">
                  <c:v>7.1029</c:v>
                </c:pt>
                <c:pt idx="332">
                  <c:v>6.7248999999999999</c:v>
                </c:pt>
                <c:pt idx="333">
                  <c:v>6.3220000000000001</c:v>
                </c:pt>
                <c:pt idx="334">
                  <c:v>6.2165999999999997</c:v>
                </c:pt>
                <c:pt idx="335">
                  <c:v>6.0183</c:v>
                </c:pt>
                <c:pt idx="336">
                  <c:v>5.82</c:v>
                </c:pt>
                <c:pt idx="337">
                  <c:v>5.6836000000000002</c:v>
                </c:pt>
                <c:pt idx="338">
                  <c:v>5.5781999999999998</c:v>
                </c:pt>
                <c:pt idx="339">
                  <c:v>5.8943000000000003</c:v>
                </c:pt>
                <c:pt idx="340">
                  <c:v>6.0369000000000002</c:v>
                </c:pt>
                <c:pt idx="341">
                  <c:v>6.2290000000000001</c:v>
                </c:pt>
                <c:pt idx="342">
                  <c:v>6.3963999999999999</c:v>
                </c:pt>
                <c:pt idx="343">
                  <c:v>7.9149000000000003</c:v>
                </c:pt>
                <c:pt idx="344">
                  <c:v>8.0449999999999999</c:v>
                </c:pt>
                <c:pt idx="345">
                  <c:v>8.6463000000000001</c:v>
                </c:pt>
                <c:pt idx="346">
                  <c:v>8.6958000000000002</c:v>
                </c:pt>
                <c:pt idx="347">
                  <c:v>7.8342999999999998</c:v>
                </c:pt>
                <c:pt idx="348">
                  <c:v>7.7785000000000002</c:v>
                </c:pt>
                <c:pt idx="349">
                  <c:v>7.4871999999999996</c:v>
                </c:pt>
                <c:pt idx="350">
                  <c:v>8.4788999999999994</c:v>
                </c:pt>
                <c:pt idx="351">
                  <c:v>10.170999999999999</c:v>
                </c:pt>
                <c:pt idx="352">
                  <c:v>12.1233</c:v>
                </c:pt>
                <c:pt idx="353">
                  <c:v>16.437200000000001</c:v>
                </c:pt>
                <c:pt idx="354">
                  <c:v>16.189299999999999</c:v>
                </c:pt>
                <c:pt idx="355">
                  <c:v>19.858499999999999</c:v>
                </c:pt>
                <c:pt idx="356">
                  <c:v>38.768700000000003</c:v>
                </c:pt>
                <c:pt idx="357">
                  <c:v>31.820699999999999</c:v>
                </c:pt>
                <c:pt idx="358">
                  <c:v>29.694800000000001</c:v>
                </c:pt>
                <c:pt idx="359">
                  <c:v>34.089199999999998</c:v>
                </c:pt>
                <c:pt idx="360">
                  <c:v>34.120199999999997</c:v>
                </c:pt>
                <c:pt idx="361">
                  <c:v>30.581099999999999</c:v>
                </c:pt>
                <c:pt idx="362">
                  <c:v>26.533799999999999</c:v>
                </c:pt>
                <c:pt idx="363">
                  <c:v>30.618300000000001</c:v>
                </c:pt>
                <c:pt idx="364">
                  <c:v>35.328800000000001</c:v>
                </c:pt>
                <c:pt idx="365">
                  <c:v>36.593200000000003</c:v>
                </c:pt>
                <c:pt idx="366">
                  <c:v>34.200699999999998</c:v>
                </c:pt>
                <c:pt idx="367">
                  <c:v>37.640599999999999</c:v>
                </c:pt>
                <c:pt idx="368">
                  <c:v>36.729500000000002</c:v>
                </c:pt>
                <c:pt idx="369">
                  <c:v>34.516800000000003</c:v>
                </c:pt>
                <c:pt idx="370">
                  <c:v>36.115900000000003</c:v>
                </c:pt>
                <c:pt idx="371">
                  <c:v>36.134500000000003</c:v>
                </c:pt>
                <c:pt idx="372">
                  <c:v>35.142800000000001</c:v>
                </c:pt>
                <c:pt idx="373">
                  <c:v>33.506599999999999</c:v>
                </c:pt>
                <c:pt idx="374">
                  <c:v>36.016800000000003</c:v>
                </c:pt>
                <c:pt idx="375">
                  <c:v>34.975499999999997</c:v>
                </c:pt>
                <c:pt idx="376">
                  <c:v>35.130400000000002</c:v>
                </c:pt>
                <c:pt idx="377">
                  <c:v>33.605699999999999</c:v>
                </c:pt>
                <c:pt idx="378">
                  <c:v>32.204999999999998</c:v>
                </c:pt>
                <c:pt idx="379">
                  <c:v>30.965399999999999</c:v>
                </c:pt>
                <c:pt idx="380">
                  <c:v>27.9345</c:v>
                </c:pt>
                <c:pt idx="381">
                  <c:v>29.7134</c:v>
                </c:pt>
                <c:pt idx="382">
                  <c:v>28.628699999999998</c:v>
                </c:pt>
                <c:pt idx="383">
                  <c:v>26.409800000000001</c:v>
                </c:pt>
                <c:pt idx="384">
                  <c:v>24.389199999999999</c:v>
                </c:pt>
                <c:pt idx="385">
                  <c:v>20.72</c:v>
                </c:pt>
                <c:pt idx="386">
                  <c:v>22.312899999999999</c:v>
                </c:pt>
                <c:pt idx="387">
                  <c:v>21.668299999999999</c:v>
                </c:pt>
                <c:pt idx="388">
                  <c:v>21.457599999999999</c:v>
                </c:pt>
                <c:pt idx="389">
                  <c:v>26.7073</c:v>
                </c:pt>
                <c:pt idx="390">
                  <c:v>25.275600000000001</c:v>
                </c:pt>
                <c:pt idx="391">
                  <c:v>23.081499999999998</c:v>
                </c:pt>
                <c:pt idx="392">
                  <c:v>22.926500000000001</c:v>
                </c:pt>
                <c:pt idx="393">
                  <c:v>24.971900000000002</c:v>
                </c:pt>
                <c:pt idx="394">
                  <c:v>23.558700000000002</c:v>
                </c:pt>
                <c:pt idx="395">
                  <c:v>24.110299999999999</c:v>
                </c:pt>
                <c:pt idx="396">
                  <c:v>23.633099999999999</c:v>
                </c:pt>
                <c:pt idx="397">
                  <c:v>22.9451</c:v>
                </c:pt>
                <c:pt idx="398">
                  <c:v>21.8171</c:v>
                </c:pt>
                <c:pt idx="399">
                  <c:v>20.819199999999999</c:v>
                </c:pt>
                <c:pt idx="400">
                  <c:v>18.494900000000001</c:v>
                </c:pt>
                <c:pt idx="401">
                  <c:v>20.769600000000001</c:v>
                </c:pt>
                <c:pt idx="402">
                  <c:v>20.267600000000002</c:v>
                </c:pt>
                <c:pt idx="403">
                  <c:v>20.949300000000001</c:v>
                </c:pt>
                <c:pt idx="404">
                  <c:v>19.678699999999999</c:v>
                </c:pt>
                <c:pt idx="405">
                  <c:v>19.5548</c:v>
                </c:pt>
                <c:pt idx="406">
                  <c:v>20.4969</c:v>
                </c:pt>
                <c:pt idx="407">
                  <c:v>20.744800000000001</c:v>
                </c:pt>
                <c:pt idx="408">
                  <c:v>22.120799999999999</c:v>
                </c:pt>
                <c:pt idx="409">
                  <c:v>23.0319</c:v>
                </c:pt>
                <c:pt idx="410">
                  <c:v>22.6538</c:v>
                </c:pt>
                <c:pt idx="411">
                  <c:v>20.9617</c:v>
                </c:pt>
                <c:pt idx="412">
                  <c:v>21.327400000000001</c:v>
                </c:pt>
                <c:pt idx="413">
                  <c:v>22.796399999999998</c:v>
                </c:pt>
                <c:pt idx="414">
                  <c:v>27.432500000000001</c:v>
                </c:pt>
                <c:pt idx="415">
                  <c:v>27.246500000000001</c:v>
                </c:pt>
                <c:pt idx="416">
                  <c:v>24.984300000000001</c:v>
                </c:pt>
                <c:pt idx="417">
                  <c:v>25.312799999999999</c:v>
                </c:pt>
                <c:pt idx="418">
                  <c:v>26.856100000000001</c:v>
                </c:pt>
                <c:pt idx="419">
                  <c:v>29.211300000000001</c:v>
                </c:pt>
                <c:pt idx="420">
                  <c:v>27.0792</c:v>
                </c:pt>
                <c:pt idx="421">
                  <c:v>27.506900000000002</c:v>
                </c:pt>
                <c:pt idx="422">
                  <c:v>27.2837</c:v>
                </c:pt>
                <c:pt idx="423">
                  <c:v>29.645199999999999</c:v>
                </c:pt>
                <c:pt idx="424">
                  <c:v>29.378699999999998</c:v>
                </c:pt>
                <c:pt idx="425">
                  <c:v>30.072800000000001</c:v>
                </c:pt>
                <c:pt idx="426">
                  <c:v>31.089300000000001</c:v>
                </c:pt>
                <c:pt idx="427">
                  <c:v>32.037599999999998</c:v>
                </c:pt>
                <c:pt idx="428">
                  <c:v>29.316700000000001</c:v>
                </c:pt>
                <c:pt idx="429">
                  <c:v>29.031600000000001</c:v>
                </c:pt>
                <c:pt idx="430">
                  <c:v>28.535699999999999</c:v>
                </c:pt>
                <c:pt idx="431">
                  <c:v>27.395299999999999</c:v>
                </c:pt>
                <c:pt idx="432">
                  <c:v>24.971900000000002</c:v>
                </c:pt>
                <c:pt idx="433">
                  <c:v>24.0608</c:v>
                </c:pt>
                <c:pt idx="434">
                  <c:v>24.841699999999999</c:v>
                </c:pt>
                <c:pt idx="435">
                  <c:v>24.779699999999998</c:v>
                </c:pt>
                <c:pt idx="436">
                  <c:v>24.798300000000001</c:v>
                </c:pt>
                <c:pt idx="437">
                  <c:v>24.3583</c:v>
                </c:pt>
                <c:pt idx="438">
                  <c:v>22.926500000000001</c:v>
                </c:pt>
                <c:pt idx="439">
                  <c:v>22.027799999999999</c:v>
                </c:pt>
                <c:pt idx="440">
                  <c:v>23.589700000000001</c:v>
                </c:pt>
                <c:pt idx="441">
                  <c:v>23.837599999999998</c:v>
                </c:pt>
                <c:pt idx="442">
                  <c:v>22.790199999999999</c:v>
                </c:pt>
                <c:pt idx="443">
                  <c:v>22.969899999999999</c:v>
                </c:pt>
                <c:pt idx="444">
                  <c:v>22.827300000000001</c:v>
                </c:pt>
                <c:pt idx="445">
                  <c:v>23.639299999999999</c:v>
                </c:pt>
                <c:pt idx="446">
                  <c:v>23.0505</c:v>
                </c:pt>
                <c:pt idx="447">
                  <c:v>23.087700000000002</c:v>
                </c:pt>
                <c:pt idx="448">
                  <c:v>22.821100000000001</c:v>
                </c:pt>
                <c:pt idx="449">
                  <c:v>23.496700000000001</c:v>
                </c:pt>
                <c:pt idx="450">
                  <c:v>24.8355</c:v>
                </c:pt>
                <c:pt idx="451">
                  <c:v>25.250800000000002</c:v>
                </c:pt>
                <c:pt idx="452">
                  <c:v>26.670100000000001</c:v>
                </c:pt>
                <c:pt idx="453">
                  <c:v>25.288</c:v>
                </c:pt>
                <c:pt idx="454">
                  <c:v>25.337499999999999</c:v>
                </c:pt>
                <c:pt idx="455">
                  <c:v>24.321100000000001</c:v>
                </c:pt>
                <c:pt idx="456">
                  <c:v>22.684799999999999</c:v>
                </c:pt>
                <c:pt idx="457">
                  <c:v>22.827300000000001</c:v>
                </c:pt>
                <c:pt idx="458">
                  <c:v>22.343900000000001</c:v>
                </c:pt>
                <c:pt idx="459">
                  <c:v>21.5444</c:v>
                </c:pt>
                <c:pt idx="460">
                  <c:v>21.835699999999999</c:v>
                </c:pt>
                <c:pt idx="461">
                  <c:v>21.9224</c:v>
                </c:pt>
                <c:pt idx="462">
                  <c:v>22.976099999999999</c:v>
                </c:pt>
                <c:pt idx="463">
                  <c:v>24.042200000000001</c:v>
                </c:pt>
                <c:pt idx="464">
                  <c:v>25.2818</c:v>
                </c:pt>
                <c:pt idx="465">
                  <c:v>24.8231</c:v>
                </c:pt>
                <c:pt idx="466">
                  <c:v>25.845800000000001</c:v>
                </c:pt>
                <c:pt idx="467">
                  <c:v>27.9283</c:v>
                </c:pt>
                <c:pt idx="468">
                  <c:v>24.748699999999999</c:v>
                </c:pt>
                <c:pt idx="469">
                  <c:v>23.732299999999999</c:v>
                </c:pt>
                <c:pt idx="470">
                  <c:v>24.4574</c:v>
                </c:pt>
                <c:pt idx="471">
                  <c:v>24.792100000000001</c:v>
                </c:pt>
                <c:pt idx="472">
                  <c:v>26.453199999999999</c:v>
                </c:pt>
                <c:pt idx="473">
                  <c:v>26.403600000000001</c:v>
                </c:pt>
                <c:pt idx="474">
                  <c:v>26.112300000000001</c:v>
                </c:pt>
                <c:pt idx="475">
                  <c:v>25.046199999999999</c:v>
                </c:pt>
                <c:pt idx="476">
                  <c:v>25.331299999999999</c:v>
                </c:pt>
                <c:pt idx="477">
                  <c:v>25.560700000000001</c:v>
                </c:pt>
                <c:pt idx="478">
                  <c:v>24.2715</c:v>
                </c:pt>
                <c:pt idx="479">
                  <c:v>24.104099999999999</c:v>
                </c:pt>
                <c:pt idx="480">
                  <c:v>23.3232</c:v>
                </c:pt>
                <c:pt idx="481">
                  <c:v>22.833500000000001</c:v>
                </c:pt>
                <c:pt idx="482">
                  <c:v>21.036100000000001</c:v>
                </c:pt>
                <c:pt idx="483">
                  <c:v>17.707799999999999</c:v>
                </c:pt>
                <c:pt idx="484">
                  <c:v>18.767600000000002</c:v>
                </c:pt>
                <c:pt idx="485">
                  <c:v>17.980499999999999</c:v>
                </c:pt>
                <c:pt idx="486">
                  <c:v>17.844100000000001</c:v>
                </c:pt>
                <c:pt idx="487">
                  <c:v>19.238700000000001</c:v>
                </c:pt>
                <c:pt idx="488">
                  <c:v>20.050599999999999</c:v>
                </c:pt>
                <c:pt idx="489">
                  <c:v>18.259399999999999</c:v>
                </c:pt>
                <c:pt idx="490">
                  <c:v>17.007400000000001</c:v>
                </c:pt>
                <c:pt idx="491">
                  <c:v>14.404199999999999</c:v>
                </c:pt>
                <c:pt idx="492">
                  <c:v>15.1852</c:v>
                </c:pt>
                <c:pt idx="493">
                  <c:v>15.2843</c:v>
                </c:pt>
                <c:pt idx="494">
                  <c:v>15.154199999999999</c:v>
                </c:pt>
                <c:pt idx="495">
                  <c:v>18.0487</c:v>
                </c:pt>
                <c:pt idx="496">
                  <c:v>18.408100000000001</c:v>
                </c:pt>
                <c:pt idx="497">
                  <c:v>18.78</c:v>
                </c:pt>
                <c:pt idx="498">
                  <c:v>17.776</c:v>
                </c:pt>
                <c:pt idx="499">
                  <c:v>17.6768</c:v>
                </c:pt>
                <c:pt idx="500">
                  <c:v>17.7883</c:v>
                </c:pt>
                <c:pt idx="501">
                  <c:v>17.180900000000001</c:v>
                </c:pt>
                <c:pt idx="502">
                  <c:v>17.323499999999999</c:v>
                </c:pt>
                <c:pt idx="503">
                  <c:v>17.937100000000001</c:v>
                </c:pt>
                <c:pt idx="504">
                  <c:v>16.858599999999999</c:v>
                </c:pt>
                <c:pt idx="505">
                  <c:v>16.437200000000001</c:v>
                </c:pt>
                <c:pt idx="506">
                  <c:v>15.7988</c:v>
                </c:pt>
                <c:pt idx="507">
                  <c:v>14.1005</c:v>
                </c:pt>
                <c:pt idx="508">
                  <c:v>13.9208</c:v>
                </c:pt>
                <c:pt idx="509">
                  <c:v>14.2493</c:v>
                </c:pt>
                <c:pt idx="510">
                  <c:v>14.1191</c:v>
                </c:pt>
                <c:pt idx="511">
                  <c:v>14.125299999999999</c:v>
                </c:pt>
                <c:pt idx="512">
                  <c:v>14.081899999999999</c:v>
                </c:pt>
                <c:pt idx="513">
                  <c:v>12.805099999999999</c:v>
                </c:pt>
                <c:pt idx="514">
                  <c:v>12.7493</c:v>
                </c:pt>
                <c:pt idx="515">
                  <c:v>11.677099999999999</c:v>
                </c:pt>
                <c:pt idx="516">
                  <c:v>11.354799999999999</c:v>
                </c:pt>
                <c:pt idx="517">
                  <c:v>11.1998</c:v>
                </c:pt>
                <c:pt idx="518">
                  <c:v>11.1379</c:v>
                </c:pt>
                <c:pt idx="519">
                  <c:v>10.313499999999999</c:v>
                </c:pt>
                <c:pt idx="520">
                  <c:v>9.9291999999999998</c:v>
                </c:pt>
                <c:pt idx="521">
                  <c:v>9.8796999999999997</c:v>
                </c:pt>
                <c:pt idx="522">
                  <c:v>8.9994999999999994</c:v>
                </c:pt>
                <c:pt idx="523">
                  <c:v>9.3341999999999992</c:v>
                </c:pt>
                <c:pt idx="524">
                  <c:v>9.9540000000000006</c:v>
                </c:pt>
                <c:pt idx="525">
                  <c:v>10.4499</c:v>
                </c:pt>
                <c:pt idx="526">
                  <c:v>9.5573999999999995</c:v>
                </c:pt>
                <c:pt idx="527">
                  <c:v>9.2164999999999999</c:v>
                </c:pt>
                <c:pt idx="528">
                  <c:v>9.5139999999999993</c:v>
                </c:pt>
                <c:pt idx="529">
                  <c:v>9.2413000000000007</c:v>
                </c:pt>
                <c:pt idx="530">
                  <c:v>10.183400000000001</c:v>
                </c:pt>
                <c:pt idx="531">
                  <c:v>11.739100000000001</c:v>
                </c:pt>
                <c:pt idx="532">
                  <c:v>11.5221</c:v>
                </c:pt>
                <c:pt idx="533">
                  <c:v>11.6585</c:v>
                </c:pt>
                <c:pt idx="534">
                  <c:v>11.0015</c:v>
                </c:pt>
                <c:pt idx="535">
                  <c:v>12.0738</c:v>
                </c:pt>
                <c:pt idx="536">
                  <c:v>12.1915</c:v>
                </c:pt>
                <c:pt idx="537">
                  <c:v>11.739100000000001</c:v>
                </c:pt>
                <c:pt idx="538">
                  <c:v>11.0945</c:v>
                </c:pt>
                <c:pt idx="539">
                  <c:v>10.2082</c:v>
                </c:pt>
                <c:pt idx="540">
                  <c:v>9.7494999999999994</c:v>
                </c:pt>
                <c:pt idx="541">
                  <c:v>10.9581</c:v>
                </c:pt>
                <c:pt idx="542">
                  <c:v>10.9457</c:v>
                </c:pt>
                <c:pt idx="543">
                  <c:v>11.689500000000001</c:v>
                </c:pt>
                <c:pt idx="544">
                  <c:v>11.354799999999999</c:v>
                </c:pt>
                <c:pt idx="545">
                  <c:v>11.4849</c:v>
                </c:pt>
                <c:pt idx="546">
                  <c:v>11.1936</c:v>
                </c:pt>
                <c:pt idx="547">
                  <c:v>10.270099999999999</c:v>
                </c:pt>
                <c:pt idx="548">
                  <c:v>9.4271999999999991</c:v>
                </c:pt>
                <c:pt idx="549">
                  <c:v>9.5388000000000002</c:v>
                </c:pt>
                <c:pt idx="550">
                  <c:v>9.7370999999999999</c:v>
                </c:pt>
                <c:pt idx="551">
                  <c:v>9.4954000000000001</c:v>
                </c:pt>
                <c:pt idx="552">
                  <c:v>8.8632000000000009</c:v>
                </c:pt>
                <c:pt idx="553">
                  <c:v>8.4045000000000005</c:v>
                </c:pt>
                <c:pt idx="554">
                  <c:v>8.9747000000000003</c:v>
                </c:pt>
                <c:pt idx="555">
                  <c:v>9.4396000000000004</c:v>
                </c:pt>
                <c:pt idx="556">
                  <c:v>9.4147999999999996</c:v>
                </c:pt>
                <c:pt idx="557">
                  <c:v>9.7928999999999995</c:v>
                </c:pt>
                <c:pt idx="558">
                  <c:v>9.8300999999999998</c:v>
                </c:pt>
                <c:pt idx="559">
                  <c:v>11.317600000000001</c:v>
                </c:pt>
                <c:pt idx="560">
                  <c:v>12.854699999999999</c:v>
                </c:pt>
                <c:pt idx="561">
                  <c:v>12.538600000000001</c:v>
                </c:pt>
                <c:pt idx="562">
                  <c:v>12.5448</c:v>
                </c:pt>
                <c:pt idx="563">
                  <c:v>18.178799999999999</c:v>
                </c:pt>
                <c:pt idx="564">
                  <c:v>18.247</c:v>
                </c:pt>
                <c:pt idx="565">
                  <c:v>15.916499999999999</c:v>
                </c:pt>
                <c:pt idx="566">
                  <c:v>15.2719</c:v>
                </c:pt>
                <c:pt idx="567">
                  <c:v>14.4414</c:v>
                </c:pt>
                <c:pt idx="568">
                  <c:v>14.4476</c:v>
                </c:pt>
                <c:pt idx="569">
                  <c:v>13.146000000000001</c:v>
                </c:pt>
                <c:pt idx="570">
                  <c:v>12.6378</c:v>
                </c:pt>
                <c:pt idx="571">
                  <c:v>12.2287</c:v>
                </c:pt>
                <c:pt idx="572">
                  <c:v>11.305199999999999</c:v>
                </c:pt>
                <c:pt idx="573">
                  <c:v>11.6027</c:v>
                </c:pt>
                <c:pt idx="574">
                  <c:v>10.797000000000001</c:v>
                </c:pt>
                <c:pt idx="575">
                  <c:v>11.4849</c:v>
                </c:pt>
                <c:pt idx="576">
                  <c:v>11.168900000000001</c:v>
                </c:pt>
                <c:pt idx="577">
                  <c:v>10.834199999999999</c:v>
                </c:pt>
                <c:pt idx="578">
                  <c:v>11.5779</c:v>
                </c:pt>
                <c:pt idx="579">
                  <c:v>10.747400000000001</c:v>
                </c:pt>
                <c:pt idx="580">
                  <c:v>10.4437</c:v>
                </c:pt>
                <c:pt idx="581">
                  <c:v>10.239100000000001</c:v>
                </c:pt>
                <c:pt idx="582">
                  <c:v>10.511900000000001</c:v>
                </c:pt>
                <c:pt idx="583">
                  <c:v>9.6068999999999996</c:v>
                </c:pt>
                <c:pt idx="584">
                  <c:v>9.8239000000000001</c:v>
                </c:pt>
                <c:pt idx="585">
                  <c:v>9.6936999999999998</c:v>
                </c:pt>
                <c:pt idx="586">
                  <c:v>9.4830000000000005</c:v>
                </c:pt>
                <c:pt idx="587">
                  <c:v>9.4581999999999997</c:v>
                </c:pt>
                <c:pt idx="588">
                  <c:v>9.6130999999999993</c:v>
                </c:pt>
                <c:pt idx="589">
                  <c:v>9.7432999999999996</c:v>
                </c:pt>
                <c:pt idx="590">
                  <c:v>9.1049000000000007</c:v>
                </c:pt>
                <c:pt idx="591">
                  <c:v>8.5284999999999993</c:v>
                </c:pt>
                <c:pt idx="592">
                  <c:v>7.7599</c:v>
                </c:pt>
                <c:pt idx="593">
                  <c:v>7.3384999999999998</c:v>
                </c:pt>
                <c:pt idx="594">
                  <c:v>6.4273999999999996</c:v>
                </c:pt>
                <c:pt idx="595">
                  <c:v>6.9417999999999997</c:v>
                </c:pt>
                <c:pt idx="596">
                  <c:v>7.3198999999999996</c:v>
                </c:pt>
                <c:pt idx="597">
                  <c:v>7.2579000000000002</c:v>
                </c:pt>
                <c:pt idx="598">
                  <c:v>7.9954999999999998</c:v>
                </c:pt>
                <c:pt idx="599">
                  <c:v>7.9086999999999996</c:v>
                </c:pt>
                <c:pt idx="600">
                  <c:v>8.1069999999999993</c:v>
                </c:pt>
                <c:pt idx="601">
                  <c:v>7.4561999999999999</c:v>
                </c:pt>
                <c:pt idx="602">
                  <c:v>7.1772999999999998</c:v>
                </c:pt>
                <c:pt idx="603">
                  <c:v>6.4398</c:v>
                </c:pt>
                <c:pt idx="604">
                  <c:v>7.3632999999999997</c:v>
                </c:pt>
                <c:pt idx="605">
                  <c:v>7.5801999999999996</c:v>
                </c:pt>
                <c:pt idx="606">
                  <c:v>8.9437999999999995</c:v>
                </c:pt>
                <c:pt idx="607">
                  <c:v>8.8879999999999999</c:v>
                </c:pt>
                <c:pt idx="608">
                  <c:v>7.9397000000000002</c:v>
                </c:pt>
                <c:pt idx="609">
                  <c:v>8.2433999999999994</c:v>
                </c:pt>
                <c:pt idx="610">
                  <c:v>7.7164999999999999</c:v>
                </c:pt>
                <c:pt idx="611">
                  <c:v>7.4066000000000001</c:v>
                </c:pt>
                <c:pt idx="612">
                  <c:v>8.1007999999999996</c:v>
                </c:pt>
                <c:pt idx="613">
                  <c:v>8.3796999999999997</c:v>
                </c:pt>
                <c:pt idx="614">
                  <c:v>7.9211</c:v>
                </c:pt>
                <c:pt idx="615">
                  <c:v>7.7042000000000002</c:v>
                </c:pt>
                <c:pt idx="616">
                  <c:v>7.1153000000000004</c:v>
                </c:pt>
                <c:pt idx="617">
                  <c:v>7.3880999999999997</c:v>
                </c:pt>
                <c:pt idx="618">
                  <c:v>7.9149000000000003</c:v>
                </c:pt>
                <c:pt idx="619">
                  <c:v>7.3075000000000001</c:v>
                </c:pt>
                <c:pt idx="620">
                  <c:v>7.7660999999999998</c:v>
                </c:pt>
                <c:pt idx="621">
                  <c:v>7.7474999999999996</c:v>
                </c:pt>
                <c:pt idx="622">
                  <c:v>7.8094999999999999</c:v>
                </c:pt>
                <c:pt idx="623">
                  <c:v>7.4686000000000003</c:v>
                </c:pt>
                <c:pt idx="624">
                  <c:v>7.7289000000000003</c:v>
                </c:pt>
                <c:pt idx="625">
                  <c:v>8.7577999999999996</c:v>
                </c:pt>
                <c:pt idx="626">
                  <c:v>8.2929999999999993</c:v>
                </c:pt>
                <c:pt idx="627">
                  <c:v>8.4603000000000002</c:v>
                </c:pt>
                <c:pt idx="628">
                  <c:v>8.3983000000000008</c:v>
                </c:pt>
                <c:pt idx="629">
                  <c:v>8.3858999999999995</c:v>
                </c:pt>
                <c:pt idx="630">
                  <c:v>7.9211</c:v>
                </c:pt>
                <c:pt idx="631">
                  <c:v>7.7908999999999997</c:v>
                </c:pt>
                <c:pt idx="632">
                  <c:v>8.9747000000000003</c:v>
                </c:pt>
                <c:pt idx="633">
                  <c:v>9.0862999999999996</c:v>
                </c:pt>
                <c:pt idx="634">
                  <c:v>9.2660999999999998</c:v>
                </c:pt>
                <c:pt idx="635">
                  <c:v>9.6689000000000007</c:v>
                </c:pt>
                <c:pt idx="636">
                  <c:v>9.3838000000000008</c:v>
                </c:pt>
                <c:pt idx="637">
                  <c:v>9.3341999999999992</c:v>
                </c:pt>
                <c:pt idx="638">
                  <c:v>9.5264000000000006</c:v>
                </c:pt>
                <c:pt idx="639">
                  <c:v>10.2515</c:v>
                </c:pt>
                <c:pt idx="640">
                  <c:v>10.14</c:v>
                </c:pt>
                <c:pt idx="641">
                  <c:v>10.8589</c:v>
                </c:pt>
                <c:pt idx="642">
                  <c:v>10.5367</c:v>
                </c:pt>
                <c:pt idx="643">
                  <c:v>9.6068999999999996</c:v>
                </c:pt>
                <c:pt idx="644">
                  <c:v>9.2413000000000007</c:v>
                </c:pt>
                <c:pt idx="645">
                  <c:v>8.6958000000000002</c:v>
                </c:pt>
                <c:pt idx="646">
                  <c:v>8.9747000000000003</c:v>
                </c:pt>
                <c:pt idx="647">
                  <c:v>9.0366999999999997</c:v>
                </c:pt>
                <c:pt idx="648">
                  <c:v>9.0243000000000002</c:v>
                </c:pt>
                <c:pt idx="649">
                  <c:v>9.5264000000000006</c:v>
                </c:pt>
                <c:pt idx="650">
                  <c:v>10.4499</c:v>
                </c:pt>
                <c:pt idx="651">
                  <c:v>11.2866</c:v>
                </c:pt>
                <c:pt idx="652">
                  <c:v>11.5655</c:v>
                </c:pt>
                <c:pt idx="653">
                  <c:v>13.747199999999999</c:v>
                </c:pt>
                <c:pt idx="654">
                  <c:v>14.8505</c:v>
                </c:pt>
                <c:pt idx="655">
                  <c:v>13.9146</c:v>
                </c:pt>
                <c:pt idx="656">
                  <c:v>14.6707</c:v>
                </c:pt>
                <c:pt idx="657">
                  <c:v>15.780200000000001</c:v>
                </c:pt>
                <c:pt idx="658">
                  <c:v>15.148</c:v>
                </c:pt>
                <c:pt idx="659">
                  <c:v>15.0054</c:v>
                </c:pt>
                <c:pt idx="660">
                  <c:v>15.3773</c:v>
                </c:pt>
                <c:pt idx="661">
                  <c:v>13.239000000000001</c:v>
                </c:pt>
                <c:pt idx="662">
                  <c:v>11.956</c:v>
                </c:pt>
                <c:pt idx="663">
                  <c:v>11.168900000000001</c:v>
                </c:pt>
                <c:pt idx="664">
                  <c:v>10.46</c:v>
                </c:pt>
                <c:pt idx="665">
                  <c:v>9.56</c:v>
                </c:pt>
                <c:pt idx="666">
                  <c:v>9.58</c:v>
                </c:pt>
                <c:pt idx="667">
                  <c:v>9.57</c:v>
                </c:pt>
                <c:pt idx="668">
                  <c:v>9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10-428C-8B7F-96DF43544825}"/>
            </c:ext>
          </c:extLst>
        </c:ser>
        <c:ser>
          <c:idx val="1"/>
          <c:order val="1"/>
          <c:spPr>
            <a:ln w="19050" cmpd="sng" algn="ctr">
              <a:solidFill>
                <a:srgbClr val="231F20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3:$YS$3</c:f>
              <c:numCache>
                <c:formatCode>General</c:formatCode>
                <c:ptCount val="669"/>
                <c:pt idx="0">
                  <c:v>1.5774999999999999</c:v>
                </c:pt>
                <c:pt idx="1">
                  <c:v>1.47</c:v>
                </c:pt>
                <c:pt idx="2">
                  <c:v>1.4624999999999999</c:v>
                </c:pt>
                <c:pt idx="3">
                  <c:v>1.38</c:v>
                </c:pt>
                <c:pt idx="4">
                  <c:v>1.43</c:v>
                </c:pt>
                <c:pt idx="5">
                  <c:v>1.3875</c:v>
                </c:pt>
                <c:pt idx="6">
                  <c:v>1.3574999999999999</c:v>
                </c:pt>
                <c:pt idx="7">
                  <c:v>1.3574999999999999</c:v>
                </c:pt>
                <c:pt idx="8">
                  <c:v>1.1775</c:v>
                </c:pt>
                <c:pt idx="9">
                  <c:v>1.1525000000000001</c:v>
                </c:pt>
                <c:pt idx="10">
                  <c:v>1.155</c:v>
                </c:pt>
                <c:pt idx="11">
                  <c:v>1.1875</c:v>
                </c:pt>
                <c:pt idx="12">
                  <c:v>1.1475</c:v>
                </c:pt>
                <c:pt idx="13">
                  <c:v>1.1399999999999999</c:v>
                </c:pt>
                <c:pt idx="14">
                  <c:v>1.155</c:v>
                </c:pt>
                <c:pt idx="15">
                  <c:v>1.08</c:v>
                </c:pt>
                <c:pt idx="16">
                  <c:v>1.07</c:v>
                </c:pt>
                <c:pt idx="17">
                  <c:v>1.0525</c:v>
                </c:pt>
                <c:pt idx="18">
                  <c:v>1.0325</c:v>
                </c:pt>
                <c:pt idx="19">
                  <c:v>0.98250000000000004</c:v>
                </c:pt>
                <c:pt idx="20">
                  <c:v>0.96</c:v>
                </c:pt>
                <c:pt idx="21">
                  <c:v>0.98750000000000004</c:v>
                </c:pt>
                <c:pt idx="22">
                  <c:v>1.0175000000000001</c:v>
                </c:pt>
                <c:pt idx="23">
                  <c:v>1.0449999999999999</c:v>
                </c:pt>
                <c:pt idx="24">
                  <c:v>1.0349999999999999</c:v>
                </c:pt>
                <c:pt idx="25">
                  <c:v>0.95250000000000001</c:v>
                </c:pt>
                <c:pt idx="26">
                  <c:v>0.98499999999999999</c:v>
                </c:pt>
                <c:pt idx="27">
                  <c:v>1.0049999999999999</c:v>
                </c:pt>
                <c:pt idx="28">
                  <c:v>1.0475000000000001</c:v>
                </c:pt>
                <c:pt idx="29">
                  <c:v>1.0275000000000001</c:v>
                </c:pt>
                <c:pt idx="30">
                  <c:v>1.0049999999999999</c:v>
                </c:pt>
                <c:pt idx="31">
                  <c:v>1.0149999999999999</c:v>
                </c:pt>
                <c:pt idx="32">
                  <c:v>1.0375000000000001</c:v>
                </c:pt>
                <c:pt idx="33">
                  <c:v>1.0349999999999999</c:v>
                </c:pt>
                <c:pt idx="34">
                  <c:v>1.01</c:v>
                </c:pt>
                <c:pt idx="35">
                  <c:v>0.92500000000000004</c:v>
                </c:pt>
                <c:pt idx="36">
                  <c:v>0.89</c:v>
                </c:pt>
                <c:pt idx="37">
                  <c:v>0.84750000000000003</c:v>
                </c:pt>
                <c:pt idx="38">
                  <c:v>0.86750000000000005</c:v>
                </c:pt>
                <c:pt idx="39">
                  <c:v>0.9</c:v>
                </c:pt>
                <c:pt idx="40">
                  <c:v>0.95750000000000002</c:v>
                </c:pt>
                <c:pt idx="41">
                  <c:v>0.90749999999999997</c:v>
                </c:pt>
                <c:pt idx="42">
                  <c:v>0.9425</c:v>
                </c:pt>
                <c:pt idx="43">
                  <c:v>0.99</c:v>
                </c:pt>
                <c:pt idx="44">
                  <c:v>0.98</c:v>
                </c:pt>
                <c:pt idx="45">
                  <c:v>0.92500000000000004</c:v>
                </c:pt>
                <c:pt idx="46">
                  <c:v>1.0575000000000001</c:v>
                </c:pt>
                <c:pt idx="47">
                  <c:v>1.0349999999999999</c:v>
                </c:pt>
                <c:pt idx="48">
                  <c:v>0.995</c:v>
                </c:pt>
                <c:pt idx="49">
                  <c:v>1.1475</c:v>
                </c:pt>
                <c:pt idx="50">
                  <c:v>1.0925</c:v>
                </c:pt>
                <c:pt idx="51">
                  <c:v>1.0575000000000001</c:v>
                </c:pt>
                <c:pt idx="52">
                  <c:v>0.9425</c:v>
                </c:pt>
                <c:pt idx="53">
                  <c:v>1.0475000000000001</c:v>
                </c:pt>
                <c:pt idx="54">
                  <c:v>0.94</c:v>
                </c:pt>
                <c:pt idx="55">
                  <c:v>0.95250000000000001</c:v>
                </c:pt>
                <c:pt idx="56">
                  <c:v>1.04</c:v>
                </c:pt>
                <c:pt idx="57">
                  <c:v>1.0425</c:v>
                </c:pt>
                <c:pt idx="58">
                  <c:v>1.1025</c:v>
                </c:pt>
                <c:pt idx="59">
                  <c:v>1.0549999999999999</c:v>
                </c:pt>
                <c:pt idx="60">
                  <c:v>0.91249999999999998</c:v>
                </c:pt>
                <c:pt idx="61">
                  <c:v>0.875</c:v>
                </c:pt>
                <c:pt idx="62">
                  <c:v>0.8125</c:v>
                </c:pt>
                <c:pt idx="63">
                  <c:v>0.71250000000000002</c:v>
                </c:pt>
                <c:pt idx="64">
                  <c:v>0.7</c:v>
                </c:pt>
                <c:pt idx="65">
                  <c:v>0.77249999999999996</c:v>
                </c:pt>
                <c:pt idx="66">
                  <c:v>0.8175</c:v>
                </c:pt>
                <c:pt idx="67">
                  <c:v>0.85250000000000004</c:v>
                </c:pt>
                <c:pt idx="68">
                  <c:v>0.97250000000000003</c:v>
                </c:pt>
                <c:pt idx="69">
                  <c:v>1.1850000000000001</c:v>
                </c:pt>
                <c:pt idx="70">
                  <c:v>1.4875</c:v>
                </c:pt>
                <c:pt idx="71">
                  <c:v>1.3174999999999999</c:v>
                </c:pt>
                <c:pt idx="72">
                  <c:v>1.2575000000000001</c:v>
                </c:pt>
                <c:pt idx="73">
                  <c:v>1.22</c:v>
                </c:pt>
                <c:pt idx="74">
                  <c:v>1.4025000000000001</c:v>
                </c:pt>
                <c:pt idx="75">
                  <c:v>1.1950000000000001</c:v>
                </c:pt>
                <c:pt idx="76">
                  <c:v>1.2224999999999999</c:v>
                </c:pt>
                <c:pt idx="77">
                  <c:v>1.175</c:v>
                </c:pt>
                <c:pt idx="78">
                  <c:v>1.1924999999999999</c:v>
                </c:pt>
                <c:pt idx="79">
                  <c:v>1.4550000000000001</c:v>
                </c:pt>
                <c:pt idx="80">
                  <c:v>1.41</c:v>
                </c:pt>
                <c:pt idx="81">
                  <c:v>1.51</c:v>
                </c:pt>
                <c:pt idx="82">
                  <c:v>1.4325000000000001</c:v>
                </c:pt>
                <c:pt idx="83">
                  <c:v>1.5125</c:v>
                </c:pt>
                <c:pt idx="84">
                  <c:v>1.37</c:v>
                </c:pt>
                <c:pt idx="85">
                  <c:v>1.3474999999999999</c:v>
                </c:pt>
                <c:pt idx="86">
                  <c:v>1.2324999999999999</c:v>
                </c:pt>
                <c:pt idx="87">
                  <c:v>1.2175</c:v>
                </c:pt>
                <c:pt idx="88">
                  <c:v>1.2450000000000001</c:v>
                </c:pt>
                <c:pt idx="89">
                  <c:v>1.19</c:v>
                </c:pt>
                <c:pt idx="90">
                  <c:v>1.135</c:v>
                </c:pt>
                <c:pt idx="91">
                  <c:v>1.0525</c:v>
                </c:pt>
                <c:pt idx="92">
                  <c:v>1.0325</c:v>
                </c:pt>
                <c:pt idx="93">
                  <c:v>1.0549999999999999</c:v>
                </c:pt>
                <c:pt idx="94">
                  <c:v>1.145</c:v>
                </c:pt>
                <c:pt idx="95">
                  <c:v>1.1100000000000001</c:v>
                </c:pt>
                <c:pt idx="96">
                  <c:v>1.1074999999999999</c:v>
                </c:pt>
                <c:pt idx="97">
                  <c:v>1.1100000000000001</c:v>
                </c:pt>
                <c:pt idx="98">
                  <c:v>1.0449999999999999</c:v>
                </c:pt>
                <c:pt idx="99">
                  <c:v>1.105</c:v>
                </c:pt>
                <c:pt idx="100">
                  <c:v>1.1725000000000001</c:v>
                </c:pt>
                <c:pt idx="101">
                  <c:v>1.0825</c:v>
                </c:pt>
                <c:pt idx="102">
                  <c:v>1.0149999999999999</c:v>
                </c:pt>
                <c:pt idx="103">
                  <c:v>1.0325</c:v>
                </c:pt>
                <c:pt idx="104">
                  <c:v>1.0449999999999999</c:v>
                </c:pt>
                <c:pt idx="105">
                  <c:v>1.1100000000000001</c:v>
                </c:pt>
                <c:pt idx="106">
                  <c:v>1.1174999999999999</c:v>
                </c:pt>
                <c:pt idx="107">
                  <c:v>1.0349999999999999</c:v>
                </c:pt>
                <c:pt idx="108">
                  <c:v>1.2524999999999999</c:v>
                </c:pt>
                <c:pt idx="109">
                  <c:v>1.24</c:v>
                </c:pt>
                <c:pt idx="110">
                  <c:v>1.2675000000000001</c:v>
                </c:pt>
                <c:pt idx="111">
                  <c:v>1.0925</c:v>
                </c:pt>
                <c:pt idx="112">
                  <c:v>1.18</c:v>
                </c:pt>
                <c:pt idx="113">
                  <c:v>1.1725000000000001</c:v>
                </c:pt>
                <c:pt idx="114">
                  <c:v>1.1599999999999999</c:v>
                </c:pt>
                <c:pt idx="115">
                  <c:v>1.19</c:v>
                </c:pt>
                <c:pt idx="116">
                  <c:v>1.2375</c:v>
                </c:pt>
                <c:pt idx="117">
                  <c:v>1.22</c:v>
                </c:pt>
                <c:pt idx="118">
                  <c:v>1.2175</c:v>
                </c:pt>
                <c:pt idx="119">
                  <c:v>1.2075</c:v>
                </c:pt>
                <c:pt idx="120">
                  <c:v>1.1025</c:v>
                </c:pt>
                <c:pt idx="121">
                  <c:v>1.115</c:v>
                </c:pt>
                <c:pt idx="122">
                  <c:v>1.0874999999999999</c:v>
                </c:pt>
                <c:pt idx="123">
                  <c:v>1.095</c:v>
                </c:pt>
                <c:pt idx="124">
                  <c:v>1.085</c:v>
                </c:pt>
                <c:pt idx="125">
                  <c:v>1.1100000000000001</c:v>
                </c:pt>
                <c:pt idx="126">
                  <c:v>1.0725</c:v>
                </c:pt>
                <c:pt idx="127">
                  <c:v>1.06</c:v>
                </c:pt>
                <c:pt idx="128">
                  <c:v>1.0225</c:v>
                </c:pt>
                <c:pt idx="129">
                  <c:v>1.0649999999999999</c:v>
                </c:pt>
                <c:pt idx="130">
                  <c:v>1.0525</c:v>
                </c:pt>
                <c:pt idx="131">
                  <c:v>1.085</c:v>
                </c:pt>
                <c:pt idx="132">
                  <c:v>1.0649999999999999</c:v>
                </c:pt>
                <c:pt idx="133">
                  <c:v>1.02</c:v>
                </c:pt>
                <c:pt idx="134">
                  <c:v>1.0475000000000001</c:v>
                </c:pt>
                <c:pt idx="135">
                  <c:v>1.0425</c:v>
                </c:pt>
                <c:pt idx="136">
                  <c:v>0.99</c:v>
                </c:pt>
                <c:pt idx="137">
                  <c:v>0.96250000000000002</c:v>
                </c:pt>
                <c:pt idx="138">
                  <c:v>1.0024999999999999</c:v>
                </c:pt>
                <c:pt idx="139">
                  <c:v>1.0275000000000001</c:v>
                </c:pt>
                <c:pt idx="140">
                  <c:v>1.0275000000000001</c:v>
                </c:pt>
                <c:pt idx="141">
                  <c:v>1.0075000000000001</c:v>
                </c:pt>
                <c:pt idx="142">
                  <c:v>1.0024999999999999</c:v>
                </c:pt>
                <c:pt idx="143">
                  <c:v>0.98499999999999999</c:v>
                </c:pt>
                <c:pt idx="144">
                  <c:v>1.0149999999999999</c:v>
                </c:pt>
                <c:pt idx="145">
                  <c:v>1.0249999999999999</c:v>
                </c:pt>
                <c:pt idx="146">
                  <c:v>1.0024999999999999</c:v>
                </c:pt>
                <c:pt idx="147">
                  <c:v>1.0375000000000001</c:v>
                </c:pt>
                <c:pt idx="148">
                  <c:v>1.1074999999999999</c:v>
                </c:pt>
                <c:pt idx="149">
                  <c:v>1.1575</c:v>
                </c:pt>
                <c:pt idx="150">
                  <c:v>1.1074999999999999</c:v>
                </c:pt>
                <c:pt idx="151">
                  <c:v>1.04</c:v>
                </c:pt>
                <c:pt idx="152">
                  <c:v>1.0825</c:v>
                </c:pt>
                <c:pt idx="153">
                  <c:v>1.0874999999999999</c:v>
                </c:pt>
                <c:pt idx="154">
                  <c:v>1.1299999999999999</c:v>
                </c:pt>
                <c:pt idx="155">
                  <c:v>1.1599999999999999</c:v>
                </c:pt>
                <c:pt idx="156">
                  <c:v>1.1875</c:v>
                </c:pt>
                <c:pt idx="157">
                  <c:v>1.1575</c:v>
                </c:pt>
                <c:pt idx="158">
                  <c:v>1.2024999999999999</c:v>
                </c:pt>
                <c:pt idx="159">
                  <c:v>1.18</c:v>
                </c:pt>
                <c:pt idx="160">
                  <c:v>1.1525000000000001</c:v>
                </c:pt>
                <c:pt idx="161">
                  <c:v>1.2575000000000001</c:v>
                </c:pt>
                <c:pt idx="162">
                  <c:v>1.2175</c:v>
                </c:pt>
                <c:pt idx="163">
                  <c:v>1.2450000000000001</c:v>
                </c:pt>
                <c:pt idx="164">
                  <c:v>1.2775000000000001</c:v>
                </c:pt>
                <c:pt idx="165">
                  <c:v>1.3125</c:v>
                </c:pt>
                <c:pt idx="166">
                  <c:v>1.3474999999999999</c:v>
                </c:pt>
                <c:pt idx="167">
                  <c:v>1.67</c:v>
                </c:pt>
                <c:pt idx="168">
                  <c:v>1.9125000000000001</c:v>
                </c:pt>
                <c:pt idx="169">
                  <c:v>1.9275</c:v>
                </c:pt>
                <c:pt idx="170">
                  <c:v>1.9550000000000001</c:v>
                </c:pt>
                <c:pt idx="171">
                  <c:v>1.9125000000000001</c:v>
                </c:pt>
                <c:pt idx="172">
                  <c:v>1.925</c:v>
                </c:pt>
                <c:pt idx="173">
                  <c:v>1.8374999999999999</c:v>
                </c:pt>
                <c:pt idx="174">
                  <c:v>1.5575000000000001</c:v>
                </c:pt>
                <c:pt idx="175">
                  <c:v>1.5225</c:v>
                </c:pt>
                <c:pt idx="176">
                  <c:v>1.7275</c:v>
                </c:pt>
                <c:pt idx="177">
                  <c:v>1.7725</c:v>
                </c:pt>
                <c:pt idx="178">
                  <c:v>2.17</c:v>
                </c:pt>
                <c:pt idx="179">
                  <c:v>2.2999999999999998</c:v>
                </c:pt>
                <c:pt idx="180">
                  <c:v>2.3675000000000002</c:v>
                </c:pt>
                <c:pt idx="181">
                  <c:v>2.1875</c:v>
                </c:pt>
                <c:pt idx="182">
                  <c:v>2.64</c:v>
                </c:pt>
                <c:pt idx="183">
                  <c:v>2.5099999999999998</c:v>
                </c:pt>
                <c:pt idx="184">
                  <c:v>2.2850000000000001</c:v>
                </c:pt>
                <c:pt idx="185">
                  <c:v>2.5049999999999999</c:v>
                </c:pt>
                <c:pt idx="186">
                  <c:v>2.5225</c:v>
                </c:pt>
                <c:pt idx="187">
                  <c:v>2.5874999999999999</c:v>
                </c:pt>
                <c:pt idx="188">
                  <c:v>2.5499999999999998</c:v>
                </c:pt>
                <c:pt idx="189">
                  <c:v>2.4424999999999999</c:v>
                </c:pt>
                <c:pt idx="190">
                  <c:v>2.3475000000000001</c:v>
                </c:pt>
                <c:pt idx="191">
                  <c:v>2.3650000000000002</c:v>
                </c:pt>
                <c:pt idx="192">
                  <c:v>2.2825000000000002</c:v>
                </c:pt>
                <c:pt idx="193">
                  <c:v>2.34</c:v>
                </c:pt>
                <c:pt idx="194">
                  <c:v>3.3725000000000001</c:v>
                </c:pt>
                <c:pt idx="195">
                  <c:v>3.0049999999999999</c:v>
                </c:pt>
                <c:pt idx="196">
                  <c:v>2.95</c:v>
                </c:pt>
                <c:pt idx="197">
                  <c:v>2.97</c:v>
                </c:pt>
                <c:pt idx="198">
                  <c:v>3.0625</c:v>
                </c:pt>
                <c:pt idx="199">
                  <c:v>3.4575</c:v>
                </c:pt>
                <c:pt idx="200">
                  <c:v>3.3275000000000001</c:v>
                </c:pt>
                <c:pt idx="201">
                  <c:v>3.4775</c:v>
                </c:pt>
                <c:pt idx="202">
                  <c:v>3.4649999999999999</c:v>
                </c:pt>
                <c:pt idx="203">
                  <c:v>3.5249999999999999</c:v>
                </c:pt>
                <c:pt idx="204">
                  <c:v>3.7275</c:v>
                </c:pt>
                <c:pt idx="205">
                  <c:v>3.75</c:v>
                </c:pt>
                <c:pt idx="206">
                  <c:v>3.3624999999999998</c:v>
                </c:pt>
                <c:pt idx="207">
                  <c:v>3.1724999999999999</c:v>
                </c:pt>
                <c:pt idx="208">
                  <c:v>2.9550000000000001</c:v>
                </c:pt>
                <c:pt idx="209">
                  <c:v>2.9325000000000001</c:v>
                </c:pt>
                <c:pt idx="210">
                  <c:v>2.6175000000000002</c:v>
                </c:pt>
                <c:pt idx="211">
                  <c:v>2.6875</c:v>
                </c:pt>
                <c:pt idx="212">
                  <c:v>2.8925000000000001</c:v>
                </c:pt>
                <c:pt idx="213">
                  <c:v>2.7275</c:v>
                </c:pt>
                <c:pt idx="214">
                  <c:v>2.8624999999999998</c:v>
                </c:pt>
                <c:pt idx="215">
                  <c:v>2.9649999999999999</c:v>
                </c:pt>
                <c:pt idx="216">
                  <c:v>2.8725000000000001</c:v>
                </c:pt>
                <c:pt idx="217">
                  <c:v>2.7749999999999999</c:v>
                </c:pt>
                <c:pt idx="218">
                  <c:v>2.9375</c:v>
                </c:pt>
                <c:pt idx="219">
                  <c:v>2.7825000000000002</c:v>
                </c:pt>
                <c:pt idx="220">
                  <c:v>2.7524999999999999</c:v>
                </c:pt>
                <c:pt idx="221">
                  <c:v>3.0150000000000001</c:v>
                </c:pt>
                <c:pt idx="222">
                  <c:v>2.9075000000000002</c:v>
                </c:pt>
                <c:pt idx="223">
                  <c:v>2.8925000000000001</c:v>
                </c:pt>
                <c:pt idx="224">
                  <c:v>3.1150000000000002</c:v>
                </c:pt>
                <c:pt idx="225">
                  <c:v>3.1775000000000002</c:v>
                </c:pt>
                <c:pt idx="226">
                  <c:v>3.4750000000000001</c:v>
                </c:pt>
                <c:pt idx="227">
                  <c:v>3.4175</c:v>
                </c:pt>
                <c:pt idx="228">
                  <c:v>3.6875</c:v>
                </c:pt>
                <c:pt idx="229">
                  <c:v>4.0199999999999996</c:v>
                </c:pt>
                <c:pt idx="230">
                  <c:v>4.1399999999999997</c:v>
                </c:pt>
                <c:pt idx="231">
                  <c:v>3.95</c:v>
                </c:pt>
                <c:pt idx="232">
                  <c:v>4.1449999999999996</c:v>
                </c:pt>
                <c:pt idx="233">
                  <c:v>4.03</c:v>
                </c:pt>
                <c:pt idx="234">
                  <c:v>4.2249999999999996</c:v>
                </c:pt>
                <c:pt idx="235">
                  <c:v>4.0875000000000004</c:v>
                </c:pt>
                <c:pt idx="236">
                  <c:v>4.2350000000000003</c:v>
                </c:pt>
                <c:pt idx="237">
                  <c:v>3.415</c:v>
                </c:pt>
                <c:pt idx="238">
                  <c:v>3.53</c:v>
                </c:pt>
                <c:pt idx="239">
                  <c:v>3.3275000000000001</c:v>
                </c:pt>
                <c:pt idx="240">
                  <c:v>3.18</c:v>
                </c:pt>
                <c:pt idx="241">
                  <c:v>3.4624999999999999</c:v>
                </c:pt>
                <c:pt idx="242">
                  <c:v>3.4624999999999999</c:v>
                </c:pt>
                <c:pt idx="243">
                  <c:v>3.7075</c:v>
                </c:pt>
                <c:pt idx="244">
                  <c:v>3.9075000000000002</c:v>
                </c:pt>
                <c:pt idx="245">
                  <c:v>3.8824999999999998</c:v>
                </c:pt>
                <c:pt idx="246">
                  <c:v>4.8650000000000002</c:v>
                </c:pt>
                <c:pt idx="247">
                  <c:v>5.1425000000000001</c:v>
                </c:pt>
                <c:pt idx="248">
                  <c:v>5.0374999999999996</c:v>
                </c:pt>
                <c:pt idx="249">
                  <c:v>5.2474999999999996</c:v>
                </c:pt>
                <c:pt idx="250">
                  <c:v>4.8449999999999998</c:v>
                </c:pt>
                <c:pt idx="251">
                  <c:v>4.8150000000000004</c:v>
                </c:pt>
                <c:pt idx="252">
                  <c:v>4.71</c:v>
                </c:pt>
                <c:pt idx="253">
                  <c:v>4.3125</c:v>
                </c:pt>
                <c:pt idx="254">
                  <c:v>4.3425000000000002</c:v>
                </c:pt>
                <c:pt idx="255">
                  <c:v>4.59</c:v>
                </c:pt>
                <c:pt idx="256">
                  <c:v>4.5199999999999996</c:v>
                </c:pt>
                <c:pt idx="257">
                  <c:v>4.4225000000000003</c:v>
                </c:pt>
                <c:pt idx="258">
                  <c:v>4.9850000000000003</c:v>
                </c:pt>
                <c:pt idx="259">
                  <c:v>4.9874999999999998</c:v>
                </c:pt>
                <c:pt idx="260">
                  <c:v>7.85</c:v>
                </c:pt>
                <c:pt idx="261">
                  <c:v>9.9774999999999991</c:v>
                </c:pt>
                <c:pt idx="262">
                  <c:v>8.875</c:v>
                </c:pt>
                <c:pt idx="263">
                  <c:v>9.84</c:v>
                </c:pt>
                <c:pt idx="264">
                  <c:v>9.7799999999999994</c:v>
                </c:pt>
                <c:pt idx="265">
                  <c:v>10.7575</c:v>
                </c:pt>
                <c:pt idx="266">
                  <c:v>16.252500000000001</c:v>
                </c:pt>
                <c:pt idx="267">
                  <c:v>19.197500000000002</c:v>
                </c:pt>
                <c:pt idx="268">
                  <c:v>36.994999999999997</c:v>
                </c:pt>
                <c:pt idx="269">
                  <c:v>86.877499999999998</c:v>
                </c:pt>
                <c:pt idx="270">
                  <c:v>48.4</c:v>
                </c:pt>
                <c:pt idx="271">
                  <c:v>81.25</c:v>
                </c:pt>
                <c:pt idx="272">
                  <c:v>56.25</c:v>
                </c:pt>
                <c:pt idx="273">
                  <c:v>22.5</c:v>
                </c:pt>
                <c:pt idx="274">
                  <c:v>23.102499999999999</c:v>
                </c:pt>
                <c:pt idx="275">
                  <c:v>13.375</c:v>
                </c:pt>
                <c:pt idx="276">
                  <c:v>15.942500000000001</c:v>
                </c:pt>
                <c:pt idx="277">
                  <c:v>15</c:v>
                </c:pt>
                <c:pt idx="278">
                  <c:v>12.577500000000001</c:v>
                </c:pt>
                <c:pt idx="279">
                  <c:v>12.8</c:v>
                </c:pt>
                <c:pt idx="280">
                  <c:v>12.775</c:v>
                </c:pt>
                <c:pt idx="281">
                  <c:v>13.1</c:v>
                </c:pt>
                <c:pt idx="282">
                  <c:v>12.3775</c:v>
                </c:pt>
                <c:pt idx="283">
                  <c:v>11.484999999999999</c:v>
                </c:pt>
                <c:pt idx="284">
                  <c:v>10.172499999999999</c:v>
                </c:pt>
                <c:pt idx="285">
                  <c:v>10.147500000000001</c:v>
                </c:pt>
                <c:pt idx="286">
                  <c:v>11.5</c:v>
                </c:pt>
                <c:pt idx="287">
                  <c:v>11.2425</c:v>
                </c:pt>
                <c:pt idx="288">
                  <c:v>22.927499999999998</c:v>
                </c:pt>
                <c:pt idx="289">
                  <c:v>27.182500000000001</c:v>
                </c:pt>
                <c:pt idx="290">
                  <c:v>25.434999999999999</c:v>
                </c:pt>
                <c:pt idx="291">
                  <c:v>30.1</c:v>
                </c:pt>
                <c:pt idx="292">
                  <c:v>29.545000000000002</c:v>
                </c:pt>
                <c:pt idx="293">
                  <c:v>31.045000000000002</c:v>
                </c:pt>
                <c:pt idx="294">
                  <c:v>33.087499999999999</c:v>
                </c:pt>
                <c:pt idx="295">
                  <c:v>34.435000000000002</c:v>
                </c:pt>
                <c:pt idx="296">
                  <c:v>48.625</c:v>
                </c:pt>
                <c:pt idx="297">
                  <c:v>61.725000000000001</c:v>
                </c:pt>
                <c:pt idx="298">
                  <c:v>66.25</c:v>
                </c:pt>
                <c:pt idx="299">
                  <c:v>65</c:v>
                </c:pt>
                <c:pt idx="300">
                  <c:v>66.125</c:v>
                </c:pt>
                <c:pt idx="301">
                  <c:v>55.034999999999997</c:v>
                </c:pt>
                <c:pt idx="302">
                  <c:v>52.042499999999997</c:v>
                </c:pt>
                <c:pt idx="303">
                  <c:v>52.452500000000001</c:v>
                </c:pt>
                <c:pt idx="304">
                  <c:v>50.4375</c:v>
                </c:pt>
                <c:pt idx="305">
                  <c:v>50.067500000000003</c:v>
                </c:pt>
                <c:pt idx="306">
                  <c:v>48.622500000000002</c:v>
                </c:pt>
                <c:pt idx="307">
                  <c:v>45.4375</c:v>
                </c:pt>
                <c:pt idx="308">
                  <c:v>30.085000000000001</c:v>
                </c:pt>
                <c:pt idx="309">
                  <c:v>45.9375</c:v>
                </c:pt>
                <c:pt idx="310">
                  <c:v>45.25</c:v>
                </c:pt>
                <c:pt idx="311">
                  <c:v>45.325000000000003</c:v>
                </c:pt>
                <c:pt idx="312">
                  <c:v>48.615000000000002</c:v>
                </c:pt>
                <c:pt idx="313">
                  <c:v>47.454999999999998</c:v>
                </c:pt>
                <c:pt idx="314">
                  <c:v>47.862499999999997</c:v>
                </c:pt>
                <c:pt idx="315">
                  <c:v>46.737499999999997</c:v>
                </c:pt>
                <c:pt idx="316">
                  <c:v>46.125</c:v>
                </c:pt>
                <c:pt idx="317">
                  <c:v>44.4925</c:v>
                </c:pt>
                <c:pt idx="318">
                  <c:v>42.564999999999998</c:v>
                </c:pt>
                <c:pt idx="319">
                  <c:v>39.590000000000003</c:v>
                </c:pt>
                <c:pt idx="320">
                  <c:v>35.272500000000001</c:v>
                </c:pt>
                <c:pt idx="321">
                  <c:v>35.247500000000002</c:v>
                </c:pt>
                <c:pt idx="322">
                  <c:v>41.6325</c:v>
                </c:pt>
                <c:pt idx="323">
                  <c:v>39.11</c:v>
                </c:pt>
                <c:pt idx="324">
                  <c:v>38.672499999999999</c:v>
                </c:pt>
                <c:pt idx="325">
                  <c:v>41.092500000000001</c:v>
                </c:pt>
                <c:pt idx="326">
                  <c:v>39.6325</c:v>
                </c:pt>
                <c:pt idx="327">
                  <c:v>39.627499999999998</c:v>
                </c:pt>
                <c:pt idx="328">
                  <c:v>37.792499999999997</c:v>
                </c:pt>
                <c:pt idx="329">
                  <c:v>37.795000000000002</c:v>
                </c:pt>
                <c:pt idx="330">
                  <c:v>42.232500000000002</c:v>
                </c:pt>
                <c:pt idx="331">
                  <c:v>44.442500000000003</c:v>
                </c:pt>
                <c:pt idx="332">
                  <c:v>44.645000000000003</c:v>
                </c:pt>
                <c:pt idx="333">
                  <c:v>44.047499999999999</c:v>
                </c:pt>
                <c:pt idx="334">
                  <c:v>43.397500000000001</c:v>
                </c:pt>
                <c:pt idx="335">
                  <c:v>40.549999999999997</c:v>
                </c:pt>
                <c:pt idx="336">
                  <c:v>40.182499999999997</c:v>
                </c:pt>
                <c:pt idx="337">
                  <c:v>39.869999999999997</c:v>
                </c:pt>
                <c:pt idx="338">
                  <c:v>40.252499999999998</c:v>
                </c:pt>
                <c:pt idx="339">
                  <c:v>40.277500000000003</c:v>
                </c:pt>
                <c:pt idx="340">
                  <c:v>35.805</c:v>
                </c:pt>
                <c:pt idx="341">
                  <c:v>36.729999999999997</c:v>
                </c:pt>
                <c:pt idx="342">
                  <c:v>36.197499999999998</c:v>
                </c:pt>
                <c:pt idx="343">
                  <c:v>41.125</c:v>
                </c:pt>
                <c:pt idx="344">
                  <c:v>39.979999999999997</c:v>
                </c:pt>
                <c:pt idx="345">
                  <c:v>45.15</c:v>
                </c:pt>
                <c:pt idx="346">
                  <c:v>45.167499999999997</c:v>
                </c:pt>
                <c:pt idx="347">
                  <c:v>42.207500000000003</c:v>
                </c:pt>
                <c:pt idx="348">
                  <c:v>42.622500000000002</c:v>
                </c:pt>
                <c:pt idx="349">
                  <c:v>44.197499999999998</c:v>
                </c:pt>
                <c:pt idx="350">
                  <c:v>45.002499999999998</c:v>
                </c:pt>
                <c:pt idx="351">
                  <c:v>52.357500000000002</c:v>
                </c:pt>
                <c:pt idx="352">
                  <c:v>60.64</c:v>
                </c:pt>
                <c:pt idx="353">
                  <c:v>63.532499999999999</c:v>
                </c:pt>
                <c:pt idx="354">
                  <c:v>55.5</c:v>
                </c:pt>
                <c:pt idx="355">
                  <c:v>62.255000000000003</c:v>
                </c:pt>
                <c:pt idx="356">
                  <c:v>70.56</c:v>
                </c:pt>
                <c:pt idx="357">
                  <c:v>64.545000000000002</c:v>
                </c:pt>
                <c:pt idx="358">
                  <c:v>62.09</c:v>
                </c:pt>
                <c:pt idx="359">
                  <c:v>70.002499999999998</c:v>
                </c:pt>
                <c:pt idx="360">
                  <c:v>75</c:v>
                </c:pt>
                <c:pt idx="361">
                  <c:v>75.64</c:v>
                </c:pt>
                <c:pt idx="362">
                  <c:v>55.097499999999997</c:v>
                </c:pt>
                <c:pt idx="363">
                  <c:v>58.335000000000001</c:v>
                </c:pt>
                <c:pt idx="364">
                  <c:v>57.36</c:v>
                </c:pt>
                <c:pt idx="365">
                  <c:v>55.625</c:v>
                </c:pt>
                <c:pt idx="366">
                  <c:v>55.7425</c:v>
                </c:pt>
                <c:pt idx="367">
                  <c:v>55.897500000000001</c:v>
                </c:pt>
                <c:pt idx="368">
                  <c:v>53.454999999999998</c:v>
                </c:pt>
                <c:pt idx="369">
                  <c:v>50.092500000000001</c:v>
                </c:pt>
                <c:pt idx="370">
                  <c:v>55.1</c:v>
                </c:pt>
                <c:pt idx="371">
                  <c:v>54.835000000000001</c:v>
                </c:pt>
                <c:pt idx="372">
                  <c:v>53.077500000000001</c:v>
                </c:pt>
                <c:pt idx="373">
                  <c:v>52.377499999999998</c:v>
                </c:pt>
                <c:pt idx="374">
                  <c:v>53.3125</c:v>
                </c:pt>
                <c:pt idx="375">
                  <c:v>52.72</c:v>
                </c:pt>
                <c:pt idx="376">
                  <c:v>53.534999999999997</c:v>
                </c:pt>
                <c:pt idx="377">
                  <c:v>51.09</c:v>
                </c:pt>
                <c:pt idx="378">
                  <c:v>50.707500000000003</c:v>
                </c:pt>
                <c:pt idx="379">
                  <c:v>49.89</c:v>
                </c:pt>
                <c:pt idx="380">
                  <c:v>47.664999999999999</c:v>
                </c:pt>
                <c:pt idx="381">
                  <c:v>47.844999999999999</c:v>
                </c:pt>
                <c:pt idx="382">
                  <c:v>47.807499999999997</c:v>
                </c:pt>
                <c:pt idx="383">
                  <c:v>47.3125</c:v>
                </c:pt>
                <c:pt idx="384">
                  <c:v>45.015000000000001</c:v>
                </c:pt>
                <c:pt idx="385">
                  <c:v>41.905000000000001</c:v>
                </c:pt>
                <c:pt idx="386">
                  <c:v>41.704999999999998</c:v>
                </c:pt>
                <c:pt idx="387">
                  <c:v>42.26</c:v>
                </c:pt>
                <c:pt idx="388">
                  <c:v>43.372500000000002</c:v>
                </c:pt>
                <c:pt idx="389">
                  <c:v>47.795000000000002</c:v>
                </c:pt>
                <c:pt idx="390">
                  <c:v>46.452500000000001</c:v>
                </c:pt>
                <c:pt idx="391">
                  <c:v>44.712499999999999</c:v>
                </c:pt>
                <c:pt idx="392">
                  <c:v>45.09</c:v>
                </c:pt>
                <c:pt idx="393">
                  <c:v>45.984999999999999</c:v>
                </c:pt>
                <c:pt idx="394">
                  <c:v>44.634999999999998</c:v>
                </c:pt>
                <c:pt idx="395">
                  <c:v>42.28</c:v>
                </c:pt>
                <c:pt idx="396">
                  <c:v>41.215000000000003</c:v>
                </c:pt>
                <c:pt idx="397">
                  <c:v>40.28</c:v>
                </c:pt>
                <c:pt idx="398">
                  <c:v>39.412500000000001</c:v>
                </c:pt>
                <c:pt idx="399">
                  <c:v>38.1875</c:v>
                </c:pt>
                <c:pt idx="400">
                  <c:v>36.700000000000003</c:v>
                </c:pt>
                <c:pt idx="401">
                  <c:v>38.36</c:v>
                </c:pt>
                <c:pt idx="402">
                  <c:v>37.942500000000003</c:v>
                </c:pt>
                <c:pt idx="403">
                  <c:v>40.282499999999999</c:v>
                </c:pt>
                <c:pt idx="404">
                  <c:v>39.762500000000003</c:v>
                </c:pt>
                <c:pt idx="405">
                  <c:v>39.695</c:v>
                </c:pt>
                <c:pt idx="406">
                  <c:v>40.587499999999999</c:v>
                </c:pt>
                <c:pt idx="407">
                  <c:v>40.630000000000003</c:v>
                </c:pt>
                <c:pt idx="408">
                  <c:v>40.982500000000002</c:v>
                </c:pt>
                <c:pt idx="409">
                  <c:v>40.887500000000003</c:v>
                </c:pt>
                <c:pt idx="410">
                  <c:v>39.262500000000003</c:v>
                </c:pt>
                <c:pt idx="411">
                  <c:v>38.225000000000001</c:v>
                </c:pt>
                <c:pt idx="412">
                  <c:v>39.825000000000003</c:v>
                </c:pt>
                <c:pt idx="413">
                  <c:v>41.222499999999997</c:v>
                </c:pt>
                <c:pt idx="414">
                  <c:v>52.572499999999998</c:v>
                </c:pt>
                <c:pt idx="415">
                  <c:v>49.912500000000001</c:v>
                </c:pt>
                <c:pt idx="416">
                  <c:v>51.305</c:v>
                </c:pt>
                <c:pt idx="417">
                  <c:v>51.237499999999997</c:v>
                </c:pt>
                <c:pt idx="418">
                  <c:v>52.3</c:v>
                </c:pt>
                <c:pt idx="419">
                  <c:v>54.56</c:v>
                </c:pt>
                <c:pt idx="420">
                  <c:v>53.2425</c:v>
                </c:pt>
                <c:pt idx="421">
                  <c:v>53.38</c:v>
                </c:pt>
                <c:pt idx="422">
                  <c:v>50.6875</c:v>
                </c:pt>
                <c:pt idx="423">
                  <c:v>49.75</c:v>
                </c:pt>
                <c:pt idx="424">
                  <c:v>49.7</c:v>
                </c:pt>
                <c:pt idx="425">
                  <c:v>49.795000000000002</c:v>
                </c:pt>
                <c:pt idx="426">
                  <c:v>47.602499999999999</c:v>
                </c:pt>
                <c:pt idx="427">
                  <c:v>50.85</c:v>
                </c:pt>
                <c:pt idx="428">
                  <c:v>49.81</c:v>
                </c:pt>
                <c:pt idx="429">
                  <c:v>51.13</c:v>
                </c:pt>
                <c:pt idx="430">
                  <c:v>51.592500000000001</c:v>
                </c:pt>
                <c:pt idx="431">
                  <c:v>51.2425</c:v>
                </c:pt>
                <c:pt idx="432">
                  <c:v>48.05</c:v>
                </c:pt>
                <c:pt idx="433">
                  <c:v>47.487499999999997</c:v>
                </c:pt>
                <c:pt idx="434">
                  <c:v>47.534999999999997</c:v>
                </c:pt>
                <c:pt idx="435">
                  <c:v>47.81</c:v>
                </c:pt>
                <c:pt idx="436">
                  <c:v>46.29</c:v>
                </c:pt>
                <c:pt idx="437">
                  <c:v>47.37</c:v>
                </c:pt>
                <c:pt idx="438">
                  <c:v>44.65</c:v>
                </c:pt>
                <c:pt idx="439">
                  <c:v>43.98</c:v>
                </c:pt>
                <c:pt idx="440">
                  <c:v>43.8675</c:v>
                </c:pt>
                <c:pt idx="441">
                  <c:v>44.227499999999999</c:v>
                </c:pt>
                <c:pt idx="442">
                  <c:v>42.84</c:v>
                </c:pt>
                <c:pt idx="443">
                  <c:v>43.045000000000002</c:v>
                </c:pt>
                <c:pt idx="444">
                  <c:v>42.767499999999998</c:v>
                </c:pt>
                <c:pt idx="445">
                  <c:v>43.03</c:v>
                </c:pt>
                <c:pt idx="446">
                  <c:v>43.17</c:v>
                </c:pt>
                <c:pt idx="447">
                  <c:v>44.524999999999999</c:v>
                </c:pt>
                <c:pt idx="448">
                  <c:v>43.954999999999998</c:v>
                </c:pt>
                <c:pt idx="449">
                  <c:v>46.015000000000001</c:v>
                </c:pt>
                <c:pt idx="450">
                  <c:v>45.957500000000003</c:v>
                </c:pt>
                <c:pt idx="451">
                  <c:v>45.82</c:v>
                </c:pt>
                <c:pt idx="452">
                  <c:v>46.505000000000003</c:v>
                </c:pt>
                <c:pt idx="453">
                  <c:v>46.697499999999998</c:v>
                </c:pt>
                <c:pt idx="454">
                  <c:v>46.13</c:v>
                </c:pt>
                <c:pt idx="455">
                  <c:v>45.427500000000002</c:v>
                </c:pt>
                <c:pt idx="456">
                  <c:v>42.45</c:v>
                </c:pt>
                <c:pt idx="457">
                  <c:v>43.4925</c:v>
                </c:pt>
                <c:pt idx="458">
                  <c:v>44.46</c:v>
                </c:pt>
                <c:pt idx="459">
                  <c:v>43.377499999999998</c:v>
                </c:pt>
                <c:pt idx="460">
                  <c:v>45.712499999999999</c:v>
                </c:pt>
                <c:pt idx="461">
                  <c:v>45.877499999999998</c:v>
                </c:pt>
                <c:pt idx="462">
                  <c:v>50.022500000000001</c:v>
                </c:pt>
                <c:pt idx="463">
                  <c:v>51.747500000000002</c:v>
                </c:pt>
                <c:pt idx="464">
                  <c:v>54.582500000000003</c:v>
                </c:pt>
                <c:pt idx="465">
                  <c:v>54.46</c:v>
                </c:pt>
                <c:pt idx="466">
                  <c:v>53.3125</c:v>
                </c:pt>
                <c:pt idx="467">
                  <c:v>54.66</c:v>
                </c:pt>
                <c:pt idx="468">
                  <c:v>51.65</c:v>
                </c:pt>
                <c:pt idx="469">
                  <c:v>49.797499999999999</c:v>
                </c:pt>
                <c:pt idx="470">
                  <c:v>51.08</c:v>
                </c:pt>
                <c:pt idx="471">
                  <c:v>50.524999999999999</c:v>
                </c:pt>
                <c:pt idx="472">
                  <c:v>52.284999999999997</c:v>
                </c:pt>
                <c:pt idx="473">
                  <c:v>51.795000000000002</c:v>
                </c:pt>
                <c:pt idx="474">
                  <c:v>52.5</c:v>
                </c:pt>
                <c:pt idx="475">
                  <c:v>52.53</c:v>
                </c:pt>
                <c:pt idx="476">
                  <c:v>57.2</c:v>
                </c:pt>
                <c:pt idx="477">
                  <c:v>61.887500000000003</c:v>
                </c:pt>
                <c:pt idx="478">
                  <c:v>53.475000000000001</c:v>
                </c:pt>
                <c:pt idx="479">
                  <c:v>52.945</c:v>
                </c:pt>
                <c:pt idx="480">
                  <c:v>49.93</c:v>
                </c:pt>
                <c:pt idx="481">
                  <c:v>50.502499999999998</c:v>
                </c:pt>
                <c:pt idx="482">
                  <c:v>49.052500000000002</c:v>
                </c:pt>
                <c:pt idx="483">
                  <c:v>44.96</c:v>
                </c:pt>
                <c:pt idx="484">
                  <c:v>45.39</c:v>
                </c:pt>
                <c:pt idx="485">
                  <c:v>43.097499999999997</c:v>
                </c:pt>
                <c:pt idx="486">
                  <c:v>41.78</c:v>
                </c:pt>
                <c:pt idx="487">
                  <c:v>44.452500000000001</c:v>
                </c:pt>
                <c:pt idx="488">
                  <c:v>43.412500000000001</c:v>
                </c:pt>
                <c:pt idx="489">
                  <c:v>38.94</c:v>
                </c:pt>
                <c:pt idx="490">
                  <c:v>39.752499999999998</c:v>
                </c:pt>
                <c:pt idx="491">
                  <c:v>34.22</c:v>
                </c:pt>
                <c:pt idx="492">
                  <c:v>36.922499999999999</c:v>
                </c:pt>
                <c:pt idx="493">
                  <c:v>37.147500000000001</c:v>
                </c:pt>
                <c:pt idx="494">
                  <c:v>36.147500000000001</c:v>
                </c:pt>
                <c:pt idx="495">
                  <c:v>38.909999999999997</c:v>
                </c:pt>
                <c:pt idx="496">
                  <c:v>39.284999999999997</c:v>
                </c:pt>
                <c:pt idx="497">
                  <c:v>39.53</c:v>
                </c:pt>
                <c:pt idx="498">
                  <c:v>38.5</c:v>
                </c:pt>
                <c:pt idx="499">
                  <c:v>38.034999999999997</c:v>
                </c:pt>
                <c:pt idx="500">
                  <c:v>37.077500000000001</c:v>
                </c:pt>
                <c:pt idx="501">
                  <c:v>36.615000000000002</c:v>
                </c:pt>
                <c:pt idx="502">
                  <c:v>38.482500000000002</c:v>
                </c:pt>
                <c:pt idx="503">
                  <c:v>38.832500000000003</c:v>
                </c:pt>
                <c:pt idx="504">
                  <c:v>37.097499999999997</c:v>
                </c:pt>
                <c:pt idx="505">
                  <c:v>38.21</c:v>
                </c:pt>
                <c:pt idx="506">
                  <c:v>37.227499999999999</c:v>
                </c:pt>
                <c:pt idx="507">
                  <c:v>32.342500000000001</c:v>
                </c:pt>
                <c:pt idx="508">
                  <c:v>32.7575</c:v>
                </c:pt>
                <c:pt idx="509">
                  <c:v>35.155000000000001</c:v>
                </c:pt>
                <c:pt idx="510">
                  <c:v>32.787500000000001</c:v>
                </c:pt>
                <c:pt idx="511">
                  <c:v>32.575000000000003</c:v>
                </c:pt>
                <c:pt idx="512">
                  <c:v>32.015000000000001</c:v>
                </c:pt>
                <c:pt idx="513">
                  <c:v>30.62</c:v>
                </c:pt>
                <c:pt idx="514">
                  <c:v>29.162500000000001</c:v>
                </c:pt>
                <c:pt idx="515">
                  <c:v>27.227499999999999</c:v>
                </c:pt>
                <c:pt idx="516">
                  <c:v>26.642499999999998</c:v>
                </c:pt>
                <c:pt idx="517">
                  <c:v>25.6675</c:v>
                </c:pt>
                <c:pt idx="518">
                  <c:v>26.59</c:v>
                </c:pt>
                <c:pt idx="519">
                  <c:v>25.037500000000001</c:v>
                </c:pt>
                <c:pt idx="520">
                  <c:v>24.947500000000002</c:v>
                </c:pt>
                <c:pt idx="521">
                  <c:v>25.815000000000001</c:v>
                </c:pt>
                <c:pt idx="522">
                  <c:v>23.38</c:v>
                </c:pt>
                <c:pt idx="523">
                  <c:v>24.477499999999999</c:v>
                </c:pt>
                <c:pt idx="524">
                  <c:v>27.232500000000002</c:v>
                </c:pt>
                <c:pt idx="525">
                  <c:v>28.15</c:v>
                </c:pt>
                <c:pt idx="526">
                  <c:v>25.01</c:v>
                </c:pt>
                <c:pt idx="527">
                  <c:v>24.807500000000001</c:v>
                </c:pt>
                <c:pt idx="528">
                  <c:v>25.585000000000001</c:v>
                </c:pt>
                <c:pt idx="529">
                  <c:v>25.585000000000001</c:v>
                </c:pt>
                <c:pt idx="530">
                  <c:v>28.9</c:v>
                </c:pt>
                <c:pt idx="531">
                  <c:v>31.072500000000002</c:v>
                </c:pt>
                <c:pt idx="532">
                  <c:v>30.6175</c:v>
                </c:pt>
                <c:pt idx="533">
                  <c:v>31.0625</c:v>
                </c:pt>
                <c:pt idx="534">
                  <c:v>29.272500000000001</c:v>
                </c:pt>
                <c:pt idx="535">
                  <c:v>31.54</c:v>
                </c:pt>
                <c:pt idx="536">
                  <c:v>32.082500000000003</c:v>
                </c:pt>
                <c:pt idx="537">
                  <c:v>30.852499999999999</c:v>
                </c:pt>
                <c:pt idx="538">
                  <c:v>30.3825</c:v>
                </c:pt>
                <c:pt idx="539">
                  <c:v>29.515000000000001</c:v>
                </c:pt>
                <c:pt idx="540">
                  <c:v>28.717500000000001</c:v>
                </c:pt>
                <c:pt idx="541">
                  <c:v>31.145</c:v>
                </c:pt>
                <c:pt idx="542">
                  <c:v>29.645</c:v>
                </c:pt>
                <c:pt idx="543">
                  <c:v>30.835000000000001</c:v>
                </c:pt>
                <c:pt idx="544">
                  <c:v>29.754999999999999</c:v>
                </c:pt>
                <c:pt idx="545">
                  <c:v>30.4925</c:v>
                </c:pt>
                <c:pt idx="546">
                  <c:v>29.602499999999999</c:v>
                </c:pt>
                <c:pt idx="547">
                  <c:v>27.914999999999999</c:v>
                </c:pt>
                <c:pt idx="548">
                  <c:v>24.837499999999999</c:v>
                </c:pt>
                <c:pt idx="549">
                  <c:v>25.752500000000001</c:v>
                </c:pt>
                <c:pt idx="550">
                  <c:v>26.302499999999998</c:v>
                </c:pt>
                <c:pt idx="551">
                  <c:v>25.14</c:v>
                </c:pt>
                <c:pt idx="552">
                  <c:v>23.172499999999999</c:v>
                </c:pt>
                <c:pt idx="553">
                  <c:v>19.5275</c:v>
                </c:pt>
                <c:pt idx="554">
                  <c:v>20.66</c:v>
                </c:pt>
                <c:pt idx="555">
                  <c:v>21.715</c:v>
                </c:pt>
                <c:pt idx="556">
                  <c:v>21.925000000000001</c:v>
                </c:pt>
                <c:pt idx="557">
                  <c:v>22.697500000000002</c:v>
                </c:pt>
                <c:pt idx="558">
                  <c:v>23.55</c:v>
                </c:pt>
                <c:pt idx="559">
                  <c:v>30.785</c:v>
                </c:pt>
                <c:pt idx="560">
                  <c:v>35.25</c:v>
                </c:pt>
                <c:pt idx="561">
                  <c:v>35.597499999999997</c:v>
                </c:pt>
                <c:pt idx="562">
                  <c:v>37.987499999999997</c:v>
                </c:pt>
                <c:pt idx="563">
                  <c:v>47.397500000000001</c:v>
                </c:pt>
                <c:pt idx="564">
                  <c:v>44.975000000000001</c:v>
                </c:pt>
                <c:pt idx="565">
                  <c:v>41.712499999999999</c:v>
                </c:pt>
                <c:pt idx="566">
                  <c:v>41.645000000000003</c:v>
                </c:pt>
                <c:pt idx="567">
                  <c:v>41.25</c:v>
                </c:pt>
                <c:pt idx="568">
                  <c:v>42.682499999999997</c:v>
                </c:pt>
                <c:pt idx="569">
                  <c:v>38.397500000000001</c:v>
                </c:pt>
                <c:pt idx="570">
                  <c:v>39.159999999999997</c:v>
                </c:pt>
                <c:pt idx="571">
                  <c:v>37.5</c:v>
                </c:pt>
                <c:pt idx="572">
                  <c:v>36.547499999999999</c:v>
                </c:pt>
                <c:pt idx="573">
                  <c:v>36.732500000000002</c:v>
                </c:pt>
                <c:pt idx="574">
                  <c:v>36.217500000000001</c:v>
                </c:pt>
                <c:pt idx="575">
                  <c:v>37.674999999999997</c:v>
                </c:pt>
                <c:pt idx="576">
                  <c:v>37.692500000000003</c:v>
                </c:pt>
                <c:pt idx="577">
                  <c:v>35.365000000000002</c:v>
                </c:pt>
                <c:pt idx="578">
                  <c:v>38.1175</c:v>
                </c:pt>
                <c:pt idx="579">
                  <c:v>37.212499999999999</c:v>
                </c:pt>
                <c:pt idx="580">
                  <c:v>35.39</c:v>
                </c:pt>
                <c:pt idx="581">
                  <c:v>34.555</c:v>
                </c:pt>
                <c:pt idx="582">
                  <c:v>33.987499999999997</c:v>
                </c:pt>
                <c:pt idx="583">
                  <c:v>31.9</c:v>
                </c:pt>
                <c:pt idx="584">
                  <c:v>32.46</c:v>
                </c:pt>
                <c:pt idx="585">
                  <c:v>32.327500000000001</c:v>
                </c:pt>
                <c:pt idx="586">
                  <c:v>31.267499999999998</c:v>
                </c:pt>
                <c:pt idx="587">
                  <c:v>29.892499999999998</c:v>
                </c:pt>
                <c:pt idx="588">
                  <c:v>30.107500000000002</c:v>
                </c:pt>
                <c:pt idx="589">
                  <c:v>31.77</c:v>
                </c:pt>
                <c:pt idx="590">
                  <c:v>29.782499999999999</c:v>
                </c:pt>
                <c:pt idx="591">
                  <c:v>28.675000000000001</c:v>
                </c:pt>
                <c:pt idx="592">
                  <c:v>24.697500000000002</c:v>
                </c:pt>
                <c:pt idx="593">
                  <c:v>23.375</c:v>
                </c:pt>
                <c:pt idx="594">
                  <c:v>20.3325</c:v>
                </c:pt>
                <c:pt idx="595">
                  <c:v>22.392499999999998</c:v>
                </c:pt>
                <c:pt idx="596">
                  <c:v>24.5975</c:v>
                </c:pt>
                <c:pt idx="597">
                  <c:v>22.95</c:v>
                </c:pt>
                <c:pt idx="598">
                  <c:v>25.094999999999999</c:v>
                </c:pt>
                <c:pt idx="599">
                  <c:v>22.87</c:v>
                </c:pt>
                <c:pt idx="600">
                  <c:v>24.797499999999999</c:v>
                </c:pt>
                <c:pt idx="601">
                  <c:v>23.914999999999999</c:v>
                </c:pt>
                <c:pt idx="602">
                  <c:v>24.032499999999999</c:v>
                </c:pt>
                <c:pt idx="603">
                  <c:v>22.287500000000001</c:v>
                </c:pt>
                <c:pt idx="604">
                  <c:v>28.7925</c:v>
                </c:pt>
                <c:pt idx="605">
                  <c:v>32.115000000000002</c:v>
                </c:pt>
                <c:pt idx="606">
                  <c:v>34.302500000000002</c:v>
                </c:pt>
                <c:pt idx="607">
                  <c:v>31.184999999999999</c:v>
                </c:pt>
                <c:pt idx="608">
                  <c:v>30.35</c:v>
                </c:pt>
                <c:pt idx="609">
                  <c:v>33.5</c:v>
                </c:pt>
                <c:pt idx="610">
                  <c:v>33.424999999999997</c:v>
                </c:pt>
                <c:pt idx="611">
                  <c:v>32.024999999999999</c:v>
                </c:pt>
                <c:pt idx="612">
                  <c:v>36.625</c:v>
                </c:pt>
                <c:pt idx="613">
                  <c:v>34.682499999999997</c:v>
                </c:pt>
                <c:pt idx="614">
                  <c:v>32.244999999999997</c:v>
                </c:pt>
                <c:pt idx="615">
                  <c:v>32.272500000000001</c:v>
                </c:pt>
                <c:pt idx="616">
                  <c:v>29.5625</c:v>
                </c:pt>
                <c:pt idx="617">
                  <c:v>31.5425</c:v>
                </c:pt>
                <c:pt idx="618">
                  <c:v>32.322499999999998</c:v>
                </c:pt>
                <c:pt idx="619">
                  <c:v>31.432500000000001</c:v>
                </c:pt>
                <c:pt idx="620">
                  <c:v>33.784999999999997</c:v>
                </c:pt>
                <c:pt idx="621">
                  <c:v>35.07</c:v>
                </c:pt>
                <c:pt idx="622">
                  <c:v>34.615000000000002</c:v>
                </c:pt>
                <c:pt idx="623">
                  <c:v>35.505000000000003</c:v>
                </c:pt>
                <c:pt idx="624">
                  <c:v>33.802500000000002</c:v>
                </c:pt>
                <c:pt idx="625">
                  <c:v>32.422499999999999</c:v>
                </c:pt>
                <c:pt idx="626">
                  <c:v>31.094999999999999</c:v>
                </c:pt>
                <c:pt idx="627">
                  <c:v>30.715</c:v>
                </c:pt>
                <c:pt idx="628">
                  <c:v>30.574999999999999</c:v>
                </c:pt>
                <c:pt idx="629">
                  <c:v>30.855</c:v>
                </c:pt>
                <c:pt idx="630">
                  <c:v>30.057500000000001</c:v>
                </c:pt>
                <c:pt idx="631">
                  <c:v>29.357500000000002</c:v>
                </c:pt>
                <c:pt idx="632">
                  <c:v>33.78</c:v>
                </c:pt>
                <c:pt idx="633">
                  <c:v>32.134999999999998</c:v>
                </c:pt>
                <c:pt idx="634">
                  <c:v>32.522500000000001</c:v>
                </c:pt>
                <c:pt idx="635">
                  <c:v>34.28</c:v>
                </c:pt>
                <c:pt idx="636">
                  <c:v>35.32</c:v>
                </c:pt>
                <c:pt idx="637">
                  <c:v>34.049999999999997</c:v>
                </c:pt>
                <c:pt idx="638">
                  <c:v>35.409999999999997</c:v>
                </c:pt>
                <c:pt idx="639">
                  <c:v>36.659999999999997</c:v>
                </c:pt>
                <c:pt idx="640">
                  <c:v>37.924999999999997</c:v>
                </c:pt>
                <c:pt idx="641">
                  <c:v>39.6875</c:v>
                </c:pt>
                <c:pt idx="642">
                  <c:v>38.3675</c:v>
                </c:pt>
                <c:pt idx="643">
                  <c:v>35.78</c:v>
                </c:pt>
                <c:pt idx="644">
                  <c:v>33.979999999999997</c:v>
                </c:pt>
                <c:pt idx="645">
                  <c:v>32.43</c:v>
                </c:pt>
                <c:pt idx="646">
                  <c:v>33.78</c:v>
                </c:pt>
                <c:pt idx="647">
                  <c:v>33.840000000000003</c:v>
                </c:pt>
                <c:pt idx="648">
                  <c:v>34.01</c:v>
                </c:pt>
                <c:pt idx="649">
                  <c:v>34.78</c:v>
                </c:pt>
                <c:pt idx="650">
                  <c:v>35.840000000000003</c:v>
                </c:pt>
                <c:pt idx="651">
                  <c:v>37.93</c:v>
                </c:pt>
                <c:pt idx="652">
                  <c:v>38.36</c:v>
                </c:pt>
                <c:pt idx="653">
                  <c:v>40.020000000000003</c:v>
                </c:pt>
                <c:pt idx="654">
                  <c:v>43.45</c:v>
                </c:pt>
                <c:pt idx="655">
                  <c:v>40.369999999999997</c:v>
                </c:pt>
                <c:pt idx="656">
                  <c:v>40.53</c:v>
                </c:pt>
                <c:pt idx="657">
                  <c:v>39.450000000000003</c:v>
                </c:pt>
                <c:pt idx="658">
                  <c:v>40.74</c:v>
                </c:pt>
                <c:pt idx="659">
                  <c:v>39.68</c:v>
                </c:pt>
                <c:pt idx="660">
                  <c:v>42.19</c:v>
                </c:pt>
                <c:pt idx="661">
                  <c:v>40.520000000000003</c:v>
                </c:pt>
                <c:pt idx="662">
                  <c:v>37.93</c:v>
                </c:pt>
                <c:pt idx="663">
                  <c:v>36.49</c:v>
                </c:pt>
                <c:pt idx="664">
                  <c:v>34.5</c:v>
                </c:pt>
                <c:pt idx="665">
                  <c:v>33.53</c:v>
                </c:pt>
                <c:pt idx="666">
                  <c:v>32.5</c:v>
                </c:pt>
                <c:pt idx="667">
                  <c:v>31.96</c:v>
                </c:pt>
                <c:pt idx="668">
                  <c:v>3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910-428C-8B7F-96DF43544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358"/>
          <c:min val="1826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49869904596703E-2"/>
          <c:y val="2.9748283752860413E-2"/>
          <c:w val="0.95490026019080654"/>
          <c:h val="0.940503432494279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570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2CB-4D15-8781-044FB7E67A2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2CB-4D15-8781-044FB7E67A2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2CB-4D15-8781-044FB7E67A2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2CB-4D15-8781-044FB7E67A2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2CB-4D15-8781-044FB7E67A23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598709</c:v>
                </c:pt>
                <c:pt idx="1">
                  <c:v>1150222</c:v>
                </c:pt>
                <c:pt idx="2">
                  <c:v>1070689</c:v>
                </c:pt>
                <c:pt idx="3">
                  <c:v>893965</c:v>
                </c:pt>
                <c:pt idx="4">
                  <c:v>835531</c:v>
                </c:pt>
                <c:pt idx="5">
                  <c:v>832481</c:v>
                </c:pt>
                <c:pt idx="6">
                  <c:v>791760</c:v>
                </c:pt>
                <c:pt idx="7">
                  <c:v>785200</c:v>
                </c:pt>
                <c:pt idx="8">
                  <c:v>759721</c:v>
                </c:pt>
                <c:pt idx="9">
                  <c:v>744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CB-4D15-8781-044FB7E67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224143"/>
        <c:axId val="1"/>
      </c:barChart>
      <c:catAx>
        <c:axId val="1960224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60224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26581074655255E-2"/>
          <c:y val="2.9680365296803651E-2"/>
          <c:w val="0.9505468378506895"/>
          <c:h val="0.940639269406392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2:$AA$2</c:f>
              <c:numCache>
                <c:formatCode>General</c:formatCode>
                <c:ptCount val="27"/>
                <c:pt idx="0">
                  <c:v>111</c:v>
                </c:pt>
                <c:pt idx="1">
                  <c:v>178</c:v>
                </c:pt>
                <c:pt idx="2">
                  <c:v>140</c:v>
                </c:pt>
                <c:pt idx="3">
                  <c:v>257</c:v>
                </c:pt>
                <c:pt idx="4">
                  <c:v>471</c:v>
                </c:pt>
                <c:pt idx="5">
                  <c:v>566</c:v>
                </c:pt>
                <c:pt idx="6">
                  <c:v>200</c:v>
                </c:pt>
                <c:pt idx="7">
                  <c:v>95</c:v>
                </c:pt>
                <c:pt idx="8">
                  <c:v>181</c:v>
                </c:pt>
                <c:pt idx="9">
                  <c:v>525</c:v>
                </c:pt>
                <c:pt idx="10">
                  <c:v>454</c:v>
                </c:pt>
                <c:pt idx="11">
                  <c:v>393</c:v>
                </c:pt>
                <c:pt idx="12">
                  <c:v>964</c:v>
                </c:pt>
                <c:pt idx="13">
                  <c:v>508</c:v>
                </c:pt>
                <c:pt idx="14">
                  <c:v>341</c:v>
                </c:pt>
                <c:pt idx="15">
                  <c:v>3309</c:v>
                </c:pt>
                <c:pt idx="16">
                  <c:v>5014</c:v>
                </c:pt>
                <c:pt idx="17">
                  <c:v>12042</c:v>
                </c:pt>
                <c:pt idx="18">
                  <c:v>2124</c:v>
                </c:pt>
                <c:pt idx="19">
                  <c:v>4677</c:v>
                </c:pt>
                <c:pt idx="20">
                  <c:v>35243</c:v>
                </c:pt>
                <c:pt idx="21">
                  <c:v>20593</c:v>
                </c:pt>
                <c:pt idx="22">
                  <c:v>9318</c:v>
                </c:pt>
                <c:pt idx="23">
                  <c:v>7498</c:v>
                </c:pt>
                <c:pt idx="24">
                  <c:v>2670</c:v>
                </c:pt>
                <c:pt idx="25">
                  <c:v>675</c:v>
                </c:pt>
                <c:pt idx="26">
                  <c:v>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2E5A-4B17-B27E-3A17A80E353C}"/>
            </c:ext>
          </c:extLst>
        </c:ser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3:$AA$3</c:f>
              <c:numCache>
                <c:formatCode>General</c:formatCode>
                <c:ptCount val="27"/>
                <c:pt idx="0">
                  <c:v>50289</c:v>
                </c:pt>
                <c:pt idx="1">
                  <c:v>53530</c:v>
                </c:pt>
                <c:pt idx="2">
                  <c:v>47606</c:v>
                </c:pt>
                <c:pt idx="3">
                  <c:v>52736</c:v>
                </c:pt>
                <c:pt idx="4">
                  <c:v>54046</c:v>
                </c:pt>
                <c:pt idx="5">
                  <c:v>49779</c:v>
                </c:pt>
                <c:pt idx="6">
                  <c:v>47434</c:v>
                </c:pt>
                <c:pt idx="7">
                  <c:v>35417</c:v>
                </c:pt>
                <c:pt idx="8">
                  <c:v>50348</c:v>
                </c:pt>
                <c:pt idx="9">
                  <c:v>54143</c:v>
                </c:pt>
                <c:pt idx="10">
                  <c:v>53897</c:v>
                </c:pt>
                <c:pt idx="11">
                  <c:v>49587</c:v>
                </c:pt>
                <c:pt idx="12">
                  <c:v>51078</c:v>
                </c:pt>
                <c:pt idx="13">
                  <c:v>45035</c:v>
                </c:pt>
                <c:pt idx="14">
                  <c:v>47891</c:v>
                </c:pt>
                <c:pt idx="15">
                  <c:v>55154</c:v>
                </c:pt>
                <c:pt idx="16">
                  <c:v>58438</c:v>
                </c:pt>
                <c:pt idx="17">
                  <c:v>84411</c:v>
                </c:pt>
                <c:pt idx="18">
                  <c:v>103240</c:v>
                </c:pt>
                <c:pt idx="19">
                  <c:v>106575</c:v>
                </c:pt>
                <c:pt idx="20">
                  <c:v>112496</c:v>
                </c:pt>
                <c:pt idx="21">
                  <c:v>80415</c:v>
                </c:pt>
                <c:pt idx="22">
                  <c:v>94214</c:v>
                </c:pt>
                <c:pt idx="23">
                  <c:v>86485</c:v>
                </c:pt>
                <c:pt idx="24">
                  <c:v>76978</c:v>
                </c:pt>
                <c:pt idx="25">
                  <c:v>69509</c:v>
                </c:pt>
                <c:pt idx="26">
                  <c:v>647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2E5A-4B17-B27E-3A17A80E3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665"/>
          <c:min val="18637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170105686965275E-2"/>
          <c:w val="0.97965969098376682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.5314285714285703E-2</c:v>
                </c:pt>
                <c:pt idx="1">
                  <c:v>5.8278571428571402E-2</c:v>
                </c:pt>
                <c:pt idx="2">
                  <c:v>5.3964285714285701E-2</c:v>
                </c:pt>
                <c:pt idx="3">
                  <c:v>4.0828571428571402E-2</c:v>
                </c:pt>
                <c:pt idx="4">
                  <c:v>4.0721428571428603E-2</c:v>
                </c:pt>
                <c:pt idx="5">
                  <c:v>7.17857142857143E-2</c:v>
                </c:pt>
                <c:pt idx="6">
                  <c:v>4.7721428571428602E-2</c:v>
                </c:pt>
                <c:pt idx="7">
                  <c:v>4.1357142857142898E-2</c:v>
                </c:pt>
                <c:pt idx="8">
                  <c:v>4.2742857142857103E-2</c:v>
                </c:pt>
                <c:pt idx="9">
                  <c:v>3.1614285714285699E-2</c:v>
                </c:pt>
                <c:pt idx="10">
                  <c:v>3.2485714285714298E-2</c:v>
                </c:pt>
                <c:pt idx="11">
                  <c:v>4.1492857142857102E-2</c:v>
                </c:pt>
                <c:pt idx="12">
                  <c:v>3.4164285714285703E-2</c:v>
                </c:pt>
                <c:pt idx="13">
                  <c:v>3.7957142857142898E-2</c:v>
                </c:pt>
                <c:pt idx="14">
                  <c:v>4.7707142857142899E-2</c:v>
                </c:pt>
                <c:pt idx="15">
                  <c:v>4.6871428571428599E-2</c:v>
                </c:pt>
                <c:pt idx="16">
                  <c:v>4.2421428571428603E-2</c:v>
                </c:pt>
                <c:pt idx="17">
                  <c:v>6.7914285714285705E-2</c:v>
                </c:pt>
                <c:pt idx="18">
                  <c:v>6.8614285714285697E-2</c:v>
                </c:pt>
                <c:pt idx="19">
                  <c:v>6.0614285714285697E-2</c:v>
                </c:pt>
                <c:pt idx="20">
                  <c:v>5.6464285714285703E-2</c:v>
                </c:pt>
                <c:pt idx="21">
                  <c:v>4.69214285714286E-2</c:v>
                </c:pt>
                <c:pt idx="22">
                  <c:v>4.5321428571428603E-2</c:v>
                </c:pt>
                <c:pt idx="23">
                  <c:v>5.8285714285714302E-2</c:v>
                </c:pt>
                <c:pt idx="24">
                  <c:v>8.0457142857142894E-2</c:v>
                </c:pt>
                <c:pt idx="25">
                  <c:v>0.12187142857142901</c:v>
                </c:pt>
                <c:pt idx="26">
                  <c:v>0.53289285714285695</c:v>
                </c:pt>
                <c:pt idx="27">
                  <c:v>0.29209285714285699</c:v>
                </c:pt>
                <c:pt idx="28">
                  <c:v>0.108242857142857</c:v>
                </c:pt>
                <c:pt idx="29">
                  <c:v>8.5907142857142904E-2</c:v>
                </c:pt>
                <c:pt idx="30">
                  <c:v>0.13448571428571399</c:v>
                </c:pt>
                <c:pt idx="31">
                  <c:v>9.8207142857142896E-2</c:v>
                </c:pt>
                <c:pt idx="32">
                  <c:v>0.1188</c:v>
                </c:pt>
                <c:pt idx="33">
                  <c:v>7.6285714285714304E-2</c:v>
                </c:pt>
                <c:pt idx="34">
                  <c:v>6.90428571428571E-2</c:v>
                </c:pt>
                <c:pt idx="35">
                  <c:v>4.3528571428571403E-2</c:v>
                </c:pt>
                <c:pt idx="36">
                  <c:v>3.8550000000000001E-2</c:v>
                </c:pt>
                <c:pt idx="37">
                  <c:v>4.1664285714285702E-2</c:v>
                </c:pt>
                <c:pt idx="38">
                  <c:v>2.15428571428571E-2</c:v>
                </c:pt>
                <c:pt idx="39">
                  <c:v>3.0592857142857099E-2</c:v>
                </c:pt>
                <c:pt idx="40">
                  <c:v>2.6621428571428601E-2</c:v>
                </c:pt>
                <c:pt idx="41">
                  <c:v>2.3885714285714298E-2</c:v>
                </c:pt>
                <c:pt idx="42">
                  <c:v>2.1221428571428599E-2</c:v>
                </c:pt>
                <c:pt idx="43">
                  <c:v>2.5242857142857102E-2</c:v>
                </c:pt>
                <c:pt idx="44">
                  <c:v>4.0128571428571402E-2</c:v>
                </c:pt>
                <c:pt idx="45">
                  <c:v>5.65357142857143E-2</c:v>
                </c:pt>
                <c:pt idx="46">
                  <c:v>3.465E-2</c:v>
                </c:pt>
                <c:pt idx="47">
                  <c:v>2.3607142857142899E-2</c:v>
                </c:pt>
                <c:pt idx="48">
                  <c:v>2.16285714285714E-2</c:v>
                </c:pt>
                <c:pt idx="49">
                  <c:v>1.8514285714285698E-2</c:v>
                </c:pt>
                <c:pt idx="50">
                  <c:v>1.8342857142857098E-2</c:v>
                </c:pt>
                <c:pt idx="51">
                  <c:v>1.83142857142857E-2</c:v>
                </c:pt>
                <c:pt idx="52">
                  <c:v>2.06071428571429E-2</c:v>
                </c:pt>
                <c:pt idx="53">
                  <c:v>1.6266666666666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C368-44E2-A3C3-BE1BAAAA6E6F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89844999999999997</c:v>
                </c:pt>
                <c:pt idx="1">
                  <c:v>0.93561428571428595</c:v>
                </c:pt>
                <c:pt idx="2">
                  <c:v>0.94939285714285704</c:v>
                </c:pt>
                <c:pt idx="3">
                  <c:v>0.94500714285714305</c:v>
                </c:pt>
                <c:pt idx="4">
                  <c:v>0.95865</c:v>
                </c:pt>
                <c:pt idx="5">
                  <c:v>0.94459285714285701</c:v>
                </c:pt>
                <c:pt idx="6">
                  <c:v>0.93782857142857101</c:v>
                </c:pt>
                <c:pt idx="7">
                  <c:v>0.97177857142857105</c:v>
                </c:pt>
                <c:pt idx="8">
                  <c:v>0.97064285714285703</c:v>
                </c:pt>
                <c:pt idx="9">
                  <c:v>0.96625714285714304</c:v>
                </c:pt>
                <c:pt idx="10">
                  <c:v>0.94730000000000003</c:v>
                </c:pt>
                <c:pt idx="11">
                  <c:v>0.948028571428571</c:v>
                </c:pt>
                <c:pt idx="12">
                  <c:v>0.96840000000000004</c:v>
                </c:pt>
                <c:pt idx="13">
                  <c:v>0.99477857142857096</c:v>
                </c:pt>
                <c:pt idx="14">
                  <c:v>1.10205</c:v>
                </c:pt>
                <c:pt idx="15">
                  <c:v>0.99478571428571405</c:v>
                </c:pt>
                <c:pt idx="16">
                  <c:v>1.0328214285714299</c:v>
                </c:pt>
                <c:pt idx="17">
                  <c:v>0.95642142857142898</c:v>
                </c:pt>
                <c:pt idx="18">
                  <c:v>1.0037785714285701</c:v>
                </c:pt>
                <c:pt idx="19">
                  <c:v>1.0546428571428601</c:v>
                </c:pt>
                <c:pt idx="20">
                  <c:v>1.06297857142857</c:v>
                </c:pt>
                <c:pt idx="21">
                  <c:v>0.96972142857142896</c:v>
                </c:pt>
                <c:pt idx="22">
                  <c:v>0.97980714285714299</c:v>
                </c:pt>
                <c:pt idx="23">
                  <c:v>1.12022857142857</c:v>
                </c:pt>
                <c:pt idx="24">
                  <c:v>1.11574285714286</c:v>
                </c:pt>
                <c:pt idx="25">
                  <c:v>1.08318571428571</c:v>
                </c:pt>
                <c:pt idx="26">
                  <c:v>1.10412857142857</c:v>
                </c:pt>
                <c:pt idx="27">
                  <c:v>1.06165</c:v>
                </c:pt>
                <c:pt idx="28">
                  <c:v>1.08307142857143</c:v>
                </c:pt>
                <c:pt idx="29">
                  <c:v>1.0943000000000001</c:v>
                </c:pt>
                <c:pt idx="30">
                  <c:v>1.0663571428571399</c:v>
                </c:pt>
                <c:pt idx="31">
                  <c:v>1.06191428571429</c:v>
                </c:pt>
                <c:pt idx="32">
                  <c:v>1.02212142857143</c:v>
                </c:pt>
                <c:pt idx="33">
                  <c:v>1.0297571428571399</c:v>
                </c:pt>
                <c:pt idx="34">
                  <c:v>1.00665</c:v>
                </c:pt>
                <c:pt idx="35">
                  <c:v>0.94447857142857095</c:v>
                </c:pt>
                <c:pt idx="36">
                  <c:v>1.0256642857142899</c:v>
                </c:pt>
                <c:pt idx="37">
                  <c:v>1.0075642857142899</c:v>
                </c:pt>
                <c:pt idx="38">
                  <c:v>1.06010714285714</c:v>
                </c:pt>
                <c:pt idx="39">
                  <c:v>1.03667857142857</c:v>
                </c:pt>
                <c:pt idx="40">
                  <c:v>1.0393142857142901</c:v>
                </c:pt>
                <c:pt idx="41">
                  <c:v>1.1007785714285701</c:v>
                </c:pt>
                <c:pt idx="42">
                  <c:v>1.1013142857142899</c:v>
                </c:pt>
                <c:pt idx="43">
                  <c:v>0.99031428571428604</c:v>
                </c:pt>
                <c:pt idx="44">
                  <c:v>0.99319999999999997</c:v>
                </c:pt>
                <c:pt idx="45">
                  <c:v>1.0448285714285701</c:v>
                </c:pt>
                <c:pt idx="46">
                  <c:v>1.0253071428571401</c:v>
                </c:pt>
                <c:pt idx="47">
                  <c:v>0.98097142857142905</c:v>
                </c:pt>
                <c:pt idx="48">
                  <c:v>0.98014999999999997</c:v>
                </c:pt>
                <c:pt idx="49">
                  <c:v>0.86998571428571403</c:v>
                </c:pt>
                <c:pt idx="50">
                  <c:v>0.93944285714285702</c:v>
                </c:pt>
                <c:pt idx="51">
                  <c:v>0.92702857142857098</c:v>
                </c:pt>
                <c:pt idx="52">
                  <c:v>0.90060714285714305</c:v>
                </c:pt>
                <c:pt idx="53">
                  <c:v>0.9032166666666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C368-44E2-A3C3-BE1BAAAA6E6F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94376428571428606</c:v>
                </c:pt>
                <c:pt idx="1">
                  <c:v>0.99389285714285702</c:v>
                </c:pt>
                <c:pt idx="2">
                  <c:v>1.0033571428571399</c:v>
                </c:pt>
                <c:pt idx="3">
                  <c:v>0.98583571428571404</c:v>
                </c:pt>
                <c:pt idx="4">
                  <c:v>0.99937142857142902</c:v>
                </c:pt>
                <c:pt idx="5">
                  <c:v>1.01637857142857</c:v>
                </c:pt>
                <c:pt idx="6">
                  <c:v>0.98555000000000004</c:v>
                </c:pt>
                <c:pt idx="7">
                  <c:v>1.01313571428571</c:v>
                </c:pt>
                <c:pt idx="8">
                  <c:v>1.0133857142857099</c:v>
                </c:pt>
                <c:pt idx="9">
                  <c:v>0.99787142857142896</c:v>
                </c:pt>
                <c:pt idx="10">
                  <c:v>0.97978571428571404</c:v>
                </c:pt>
                <c:pt idx="11">
                  <c:v>0.989521428571429</c:v>
                </c:pt>
                <c:pt idx="12">
                  <c:v>1.00256428571429</c:v>
                </c:pt>
                <c:pt idx="13">
                  <c:v>1.0327357142857101</c:v>
                </c:pt>
                <c:pt idx="14">
                  <c:v>1.14975714285714</c:v>
                </c:pt>
                <c:pt idx="15">
                  <c:v>1.04165714285714</c:v>
                </c:pt>
                <c:pt idx="16">
                  <c:v>1.0752428571428601</c:v>
                </c:pt>
                <c:pt idx="17">
                  <c:v>1.0243357142857099</c:v>
                </c:pt>
                <c:pt idx="18">
                  <c:v>1.07239285714286</c:v>
                </c:pt>
                <c:pt idx="19">
                  <c:v>1.1152571428571401</c:v>
                </c:pt>
                <c:pt idx="20">
                  <c:v>1.1194428571428601</c:v>
                </c:pt>
                <c:pt idx="21">
                  <c:v>1.0166428571428601</c:v>
                </c:pt>
                <c:pt idx="22">
                  <c:v>1.0251285714285701</c:v>
                </c:pt>
                <c:pt idx="23">
                  <c:v>1.1785142857142901</c:v>
                </c:pt>
                <c:pt idx="24">
                  <c:v>1.1961999999999999</c:v>
                </c:pt>
                <c:pt idx="25">
                  <c:v>1.2050571428571399</c:v>
                </c:pt>
                <c:pt idx="26">
                  <c:v>1.63702142857143</c:v>
                </c:pt>
                <c:pt idx="27">
                  <c:v>1.35374285714286</c:v>
                </c:pt>
                <c:pt idx="28">
                  <c:v>1.19131428571429</c:v>
                </c:pt>
                <c:pt idx="29">
                  <c:v>1.1802071428571399</c:v>
                </c:pt>
                <c:pt idx="30">
                  <c:v>1.20084285714286</c:v>
                </c:pt>
                <c:pt idx="31">
                  <c:v>1.1601214285714301</c:v>
                </c:pt>
                <c:pt idx="32">
                  <c:v>1.14092142857143</c:v>
                </c:pt>
                <c:pt idx="33">
                  <c:v>1.10604285714286</c:v>
                </c:pt>
                <c:pt idx="34">
                  <c:v>1.0756928571428599</c:v>
                </c:pt>
                <c:pt idx="35">
                  <c:v>0.98800714285714297</c:v>
                </c:pt>
                <c:pt idx="36">
                  <c:v>1.06421428571429</c:v>
                </c:pt>
                <c:pt idx="37">
                  <c:v>1.0492285714285701</c:v>
                </c:pt>
                <c:pt idx="38">
                  <c:v>1.08165</c:v>
                </c:pt>
                <c:pt idx="39">
                  <c:v>1.06727142857143</c:v>
                </c:pt>
                <c:pt idx="40">
                  <c:v>1.06593571428571</c:v>
                </c:pt>
                <c:pt idx="41">
                  <c:v>1.1246642857142899</c:v>
                </c:pt>
                <c:pt idx="42">
                  <c:v>1.12253571428571</c:v>
                </c:pt>
                <c:pt idx="43">
                  <c:v>1.0155571428571399</c:v>
                </c:pt>
                <c:pt idx="44">
                  <c:v>1.03332857142857</c:v>
                </c:pt>
                <c:pt idx="45">
                  <c:v>1.10136428571429</c:v>
                </c:pt>
                <c:pt idx="46">
                  <c:v>1.0599571428571399</c:v>
                </c:pt>
                <c:pt idx="47">
                  <c:v>1.00457857142857</c:v>
                </c:pt>
                <c:pt idx="48">
                  <c:v>1.0017785714285701</c:v>
                </c:pt>
                <c:pt idx="49">
                  <c:v>0.88849999999999996</c:v>
                </c:pt>
                <c:pt idx="50">
                  <c:v>0.95778571428571402</c:v>
                </c:pt>
                <c:pt idx="51">
                  <c:v>0.94534285714285704</c:v>
                </c:pt>
                <c:pt idx="52">
                  <c:v>0.92121428571428599</c:v>
                </c:pt>
                <c:pt idx="53">
                  <c:v>0.91948333333333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C368-44E2-A3C3-BE1BAAAA6E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F16-4002-935C-39E9442DBB70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F16-4002-935C-39E9442DBB70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F16-4002-935C-39E9442DB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22123893805309E-2"/>
          <c:w val="0.95648535564853554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2.18507878471315E-2</c:v>
                </c:pt>
                <c:pt idx="1">
                  <c:v>2.2605263921534498E-2</c:v>
                </c:pt>
                <c:pt idx="2">
                  <c:v>1.8020370854008899E-2</c:v>
                </c:pt>
                <c:pt idx="3">
                  <c:v>1.5060503177505E-2</c:v>
                </c:pt>
                <c:pt idx="4">
                  <c:v>1.7817242680131198E-2</c:v>
                </c:pt>
                <c:pt idx="5">
                  <c:v>2.9830823249470399E-2</c:v>
                </c:pt>
                <c:pt idx="6">
                  <c:v>1.38417341342387E-2</c:v>
                </c:pt>
                <c:pt idx="7">
                  <c:v>1.76141145062534E-2</c:v>
                </c:pt>
                <c:pt idx="8">
                  <c:v>1.63373088418792E-2</c:v>
                </c:pt>
                <c:pt idx="9">
                  <c:v>1.45381735875337E-2</c:v>
                </c:pt>
                <c:pt idx="10">
                  <c:v>1.09108847682888E-2</c:v>
                </c:pt>
                <c:pt idx="11">
                  <c:v>1.26810017120803E-2</c:v>
                </c:pt>
                <c:pt idx="12">
                  <c:v>1.3232349612605601E-2</c:v>
                </c:pt>
                <c:pt idx="13">
                  <c:v>1.4915411624735199E-2</c:v>
                </c:pt>
                <c:pt idx="14">
                  <c:v>1.3609587649806999E-2</c:v>
                </c:pt>
                <c:pt idx="15">
                  <c:v>2.3591886480369102E-2</c:v>
                </c:pt>
                <c:pt idx="16">
                  <c:v>1.9181103276167299E-2</c:v>
                </c:pt>
                <c:pt idx="17">
                  <c:v>3.1978178230463401E-2</c:v>
                </c:pt>
                <c:pt idx="18">
                  <c:v>3.4763936043643501E-2</c:v>
                </c:pt>
                <c:pt idx="19">
                  <c:v>2.20248977104553E-2</c:v>
                </c:pt>
                <c:pt idx="20">
                  <c:v>2.1328458257160302E-2</c:v>
                </c:pt>
                <c:pt idx="21">
                  <c:v>1.94132497605989E-2</c:v>
                </c:pt>
                <c:pt idx="22">
                  <c:v>2.0951220219958801E-2</c:v>
                </c:pt>
                <c:pt idx="23">
                  <c:v>2.2082934331563199E-2</c:v>
                </c:pt>
                <c:pt idx="24">
                  <c:v>4.4368996837004099E-2</c:v>
                </c:pt>
                <c:pt idx="25">
                  <c:v>9.0595165549461704E-2</c:v>
                </c:pt>
                <c:pt idx="26">
                  <c:v>0.47752531847595803</c:v>
                </c:pt>
                <c:pt idx="27">
                  <c:v>0.21241403325498401</c:v>
                </c:pt>
                <c:pt idx="28">
                  <c:v>6.9760018571718693E-2</c:v>
                </c:pt>
                <c:pt idx="29">
                  <c:v>5.38579843881489E-2</c:v>
                </c:pt>
                <c:pt idx="30">
                  <c:v>0.11656655349525601</c:v>
                </c:pt>
                <c:pt idx="31">
                  <c:v>8.6561620382461305E-2</c:v>
                </c:pt>
                <c:pt idx="32">
                  <c:v>0.11035663503670801</c:v>
                </c:pt>
                <c:pt idx="33">
                  <c:v>7.0398421403905898E-2</c:v>
                </c:pt>
                <c:pt idx="34">
                  <c:v>5.65566872696672E-2</c:v>
                </c:pt>
                <c:pt idx="35">
                  <c:v>2.9424566901715E-2</c:v>
                </c:pt>
                <c:pt idx="36">
                  <c:v>2.63486259829953E-2</c:v>
                </c:pt>
                <c:pt idx="37">
                  <c:v>2.9627695075592701E-2</c:v>
                </c:pt>
                <c:pt idx="38">
                  <c:v>1.4277008792548101E-2</c:v>
                </c:pt>
                <c:pt idx="39">
                  <c:v>1.7556077885145498E-2</c:v>
                </c:pt>
                <c:pt idx="40">
                  <c:v>1.27680566437422E-2</c:v>
                </c:pt>
                <c:pt idx="41">
                  <c:v>9.3438959983749691E-3</c:v>
                </c:pt>
                <c:pt idx="42">
                  <c:v>9.4889875511447695E-3</c:v>
                </c:pt>
                <c:pt idx="43">
                  <c:v>1.4364063724210001E-2</c:v>
                </c:pt>
                <c:pt idx="44">
                  <c:v>2.6928992194074498E-2</c:v>
                </c:pt>
                <c:pt idx="45">
                  <c:v>3.7636748788485497E-2</c:v>
                </c:pt>
                <c:pt idx="46">
                  <c:v>2.2518208989872598E-2</c:v>
                </c:pt>
                <c:pt idx="47">
                  <c:v>1.6279272220771301E-2</c:v>
                </c:pt>
                <c:pt idx="48">
                  <c:v>1.31743129914976E-2</c:v>
                </c:pt>
                <c:pt idx="49">
                  <c:v>9.7791706566843703E-3</c:v>
                </c:pt>
                <c:pt idx="50">
                  <c:v>1.15783059110299E-2</c:v>
                </c:pt>
                <c:pt idx="51">
                  <c:v>1.15492876004759E-2</c:v>
                </c:pt>
                <c:pt idx="52">
                  <c:v>1.0127390383331899E-2</c:v>
                </c:pt>
                <c:pt idx="53">
                  <c:v>8.1928363464012499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EE-44BB-95DD-3E84C43B399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45689329967209302</c:v>
                </c:pt>
                <c:pt idx="1">
                  <c:v>0.47090914366965603</c:v>
                </c:pt>
                <c:pt idx="2">
                  <c:v>0.431763442732364</c:v>
                </c:pt>
                <c:pt idx="3">
                  <c:v>0.44409622471779697</c:v>
                </c:pt>
                <c:pt idx="4">
                  <c:v>0.44572125010881902</c:v>
                </c:pt>
                <c:pt idx="5">
                  <c:v>0.44209396128957401</c:v>
                </c:pt>
                <c:pt idx="6">
                  <c:v>0.41841501987754298</c:v>
                </c:pt>
                <c:pt idx="7">
                  <c:v>0.44862308116421501</c:v>
                </c:pt>
                <c:pt idx="8">
                  <c:v>0.43066074693131401</c:v>
                </c:pt>
                <c:pt idx="9">
                  <c:v>0.42407359043556497</c:v>
                </c:pt>
                <c:pt idx="10">
                  <c:v>0.424886103131076</c:v>
                </c:pt>
                <c:pt idx="11">
                  <c:v>0.42352224253504001</c:v>
                </c:pt>
                <c:pt idx="12">
                  <c:v>0.43495545689330001</c:v>
                </c:pt>
                <c:pt idx="13">
                  <c:v>0.45387539537448102</c:v>
                </c:pt>
                <c:pt idx="14">
                  <c:v>0.48077536925800202</c:v>
                </c:pt>
                <c:pt idx="15">
                  <c:v>0.46429296886335297</c:v>
                </c:pt>
                <c:pt idx="16">
                  <c:v>0.4803981312208</c:v>
                </c:pt>
                <c:pt idx="17">
                  <c:v>0.46255187023011501</c:v>
                </c:pt>
                <c:pt idx="18">
                  <c:v>0.46258088854066898</c:v>
                </c:pt>
                <c:pt idx="19">
                  <c:v>0.509793679811961</c:v>
                </c:pt>
                <c:pt idx="20">
                  <c:v>0.51150576013464499</c:v>
                </c:pt>
                <c:pt idx="21">
                  <c:v>0.48010794811526097</c:v>
                </c:pt>
                <c:pt idx="22">
                  <c:v>0.47900525231420998</c:v>
                </c:pt>
                <c:pt idx="23">
                  <c:v>0.54757552015321698</c:v>
                </c:pt>
                <c:pt idx="24">
                  <c:v>0.57778358143988895</c:v>
                </c:pt>
                <c:pt idx="25">
                  <c:v>0.58106265053248596</c:v>
                </c:pt>
                <c:pt idx="26">
                  <c:v>0.65236063956356505</c:v>
                </c:pt>
                <c:pt idx="27">
                  <c:v>0.64316183511795899</c:v>
                </c:pt>
                <c:pt idx="28">
                  <c:v>0.62064362612808699</c:v>
                </c:pt>
                <c:pt idx="29">
                  <c:v>0.63254113345521001</c:v>
                </c:pt>
                <c:pt idx="30">
                  <c:v>0.63436928702010997</c:v>
                </c:pt>
                <c:pt idx="31">
                  <c:v>0.66298134122631402</c:v>
                </c:pt>
                <c:pt idx="32">
                  <c:v>0.60758538637880499</c:v>
                </c:pt>
                <c:pt idx="33">
                  <c:v>0.60775949624212899</c:v>
                </c:pt>
                <c:pt idx="34">
                  <c:v>0.61901860073706505</c:v>
                </c:pt>
                <c:pt idx="35">
                  <c:v>0.60497373842894897</c:v>
                </c:pt>
                <c:pt idx="36">
                  <c:v>0.66025362003424204</c:v>
                </c:pt>
                <c:pt idx="37">
                  <c:v>0.65740982559995398</c:v>
                </c:pt>
                <c:pt idx="38">
                  <c:v>0.65082266910420505</c:v>
                </c:pt>
                <c:pt idx="39">
                  <c:v>0.68552856852674005</c:v>
                </c:pt>
                <c:pt idx="40">
                  <c:v>0.66832071036824203</c:v>
                </c:pt>
                <c:pt idx="41">
                  <c:v>0.66216882853080306</c:v>
                </c:pt>
                <c:pt idx="42">
                  <c:v>0.66390992716404096</c:v>
                </c:pt>
                <c:pt idx="43">
                  <c:v>0.61135776675081999</c:v>
                </c:pt>
                <c:pt idx="44">
                  <c:v>0.61768375845158296</c:v>
                </c:pt>
                <c:pt idx="45">
                  <c:v>0.644032384434578</c:v>
                </c:pt>
                <c:pt idx="46">
                  <c:v>0.60593134267722903</c:v>
                </c:pt>
                <c:pt idx="47">
                  <c:v>0.60601839760889098</c:v>
                </c:pt>
                <c:pt idx="48">
                  <c:v>0.61922172891094296</c:v>
                </c:pt>
                <c:pt idx="49">
                  <c:v>0.54513798206668396</c:v>
                </c:pt>
                <c:pt idx="50">
                  <c:v>0.58315196889237098</c:v>
                </c:pt>
                <c:pt idx="51">
                  <c:v>0.590058326804213</c:v>
                </c:pt>
                <c:pt idx="52">
                  <c:v>0.56724993470880103</c:v>
                </c:pt>
                <c:pt idx="53">
                  <c:v>0.57343083485679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EE-44BB-95DD-3E84C43B399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47874408751922498</c:v>
                </c:pt>
                <c:pt idx="1">
                  <c:v>0.49351440759118997</c:v>
                </c:pt>
                <c:pt idx="2">
                  <c:v>0.44978381358637298</c:v>
                </c:pt>
                <c:pt idx="3">
                  <c:v>0.45915672789530199</c:v>
                </c:pt>
                <c:pt idx="4">
                  <c:v>0.46353849278894999</c:v>
                </c:pt>
                <c:pt idx="5">
                  <c:v>0.47192478453904402</c:v>
                </c:pt>
                <c:pt idx="6">
                  <c:v>0.43225675401178099</c:v>
                </c:pt>
                <c:pt idx="7">
                  <c:v>0.46623719567046801</c:v>
                </c:pt>
                <c:pt idx="8">
                  <c:v>0.44699805577319301</c:v>
                </c:pt>
                <c:pt idx="9">
                  <c:v>0.43861176402309898</c:v>
                </c:pt>
                <c:pt idx="10">
                  <c:v>0.435796987899364</c:v>
                </c:pt>
                <c:pt idx="11">
                  <c:v>0.43620324424711998</c:v>
                </c:pt>
                <c:pt idx="12">
                  <c:v>0.44818780650590501</c:v>
                </c:pt>
                <c:pt idx="13">
                  <c:v>0.46879080699921599</c:v>
                </c:pt>
                <c:pt idx="14">
                  <c:v>0.49438495690780898</c:v>
                </c:pt>
                <c:pt idx="15">
                  <c:v>0.487884855343722</c:v>
                </c:pt>
                <c:pt idx="16">
                  <c:v>0.49957923449696801</c:v>
                </c:pt>
                <c:pt idx="17">
                  <c:v>0.49453004846057902</c:v>
                </c:pt>
                <c:pt idx="18">
                  <c:v>0.49734482458431301</c:v>
                </c:pt>
                <c:pt idx="19">
                  <c:v>0.53181857752241701</c:v>
                </c:pt>
                <c:pt idx="20">
                  <c:v>0.532834218391805</c:v>
                </c:pt>
                <c:pt idx="21">
                  <c:v>0.49952119787586002</c:v>
                </c:pt>
                <c:pt idx="22">
                  <c:v>0.49995647253416903</c:v>
                </c:pt>
                <c:pt idx="23">
                  <c:v>0.56965845448478003</c:v>
                </c:pt>
                <c:pt idx="24">
                  <c:v>0.62215257827689296</c:v>
                </c:pt>
                <c:pt idx="25">
                  <c:v>0.67165781608194797</c:v>
                </c:pt>
                <c:pt idx="26">
                  <c:v>1.12988595803952</c:v>
                </c:pt>
                <c:pt idx="27">
                  <c:v>0.85557586837294297</c:v>
                </c:pt>
                <c:pt idx="28">
                  <c:v>0.69040364469980597</c:v>
                </c:pt>
                <c:pt idx="29">
                  <c:v>0.68639911784335905</c:v>
                </c:pt>
                <c:pt idx="30">
                  <c:v>0.75093584051536499</c:v>
                </c:pt>
                <c:pt idx="31">
                  <c:v>0.74954296160877498</c:v>
                </c:pt>
                <c:pt idx="32">
                  <c:v>0.717942021415513</c:v>
                </c:pt>
                <c:pt idx="33">
                  <c:v>0.67815791764603495</c:v>
                </c:pt>
                <c:pt idx="34">
                  <c:v>0.67557528800673206</c:v>
                </c:pt>
                <c:pt idx="35">
                  <c:v>0.63439830533066399</c:v>
                </c:pt>
                <c:pt idx="36">
                  <c:v>0.68660224601723696</c:v>
                </c:pt>
                <c:pt idx="37">
                  <c:v>0.68703752067554602</c:v>
                </c:pt>
                <c:pt idx="38">
                  <c:v>0.66509967789675295</c:v>
                </c:pt>
                <c:pt idx="39">
                  <c:v>0.70308464641188595</c:v>
                </c:pt>
                <c:pt idx="40">
                  <c:v>0.68108876701198495</c:v>
                </c:pt>
                <c:pt idx="41">
                  <c:v>0.67151272452917798</c:v>
                </c:pt>
                <c:pt idx="42">
                  <c:v>0.67339891471518498</c:v>
                </c:pt>
                <c:pt idx="43">
                  <c:v>0.62572183047503005</c:v>
                </c:pt>
                <c:pt idx="44">
                  <c:v>0.64461275064565704</c:v>
                </c:pt>
                <c:pt idx="45">
                  <c:v>0.68166913322306399</c:v>
                </c:pt>
                <c:pt idx="46">
                  <c:v>0.62844955166710204</c:v>
                </c:pt>
                <c:pt idx="47">
                  <c:v>0.62229766982966295</c:v>
                </c:pt>
                <c:pt idx="48">
                  <c:v>0.63239604190244003</c:v>
                </c:pt>
                <c:pt idx="49">
                  <c:v>0.55491715272336894</c:v>
                </c:pt>
                <c:pt idx="50">
                  <c:v>0.59473027480340102</c:v>
                </c:pt>
                <c:pt idx="51">
                  <c:v>0.60160761440468902</c:v>
                </c:pt>
                <c:pt idx="52">
                  <c:v>0.57737732509213302</c:v>
                </c:pt>
                <c:pt idx="53">
                  <c:v>0.581623671203196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EE-44BB-95DD-3E84C43B3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4F22F-09A4-AA43-BCAE-8C7EF59ACBB1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4A469D-1275-E745-946B-BAB1C8468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7946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D0B1C-0795-194F-A976-DDDFE1ABFB39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13A43-2FBB-B748-B72F-928A0DE97F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6422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aker: Vitori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5D0D3C-61F6-5B7C-0B42-DD7D8A177C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26938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peaker: Micha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863DB-4214-DCED-366A-D5205D04AE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311253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Michael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01FF3-67FC-F0F6-0B41-D742831BBB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13074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BB226-48F5-52FF-1171-38BD93E364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98163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90342B-F056-ADC7-B6D8-A539B0173A5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314425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rgbClr val="000000"/>
                </a:solidFill>
                <a:ea typeface="Tahoma"/>
                <a:cs typeface="Tahoma"/>
              </a:rPr>
              <a:t>Is the difference in pre and post equilibrium statistically significant? Yes.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94904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8481A-3353-F218-AD8B-8D572D0C5F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3234075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UT OUT TO AARON AND HIS BABY AND DATA TE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7BFCA-C007-819F-A9AF-CCA2D15EAC2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739385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8861-5E4C-5AF1-34C6-652FF5E82AF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26768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499132"/>
            <a:ext cx="7772400" cy="1201856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4447" y="4091378"/>
            <a:ext cx="4477626" cy="918772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71612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8" name="Picture 7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1" name="Picture 10" descr="KS_logo_white.wmf">
            <a:extLst>
              <a:ext uri="{FF2B5EF4-FFF2-40B4-BE49-F238E27FC236}">
                <a16:creationId xmlns:a16="http://schemas.microsoft.com/office/drawing/2014/main" id="{CB7746E7-70C0-7C4D-BC72-F5353D92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758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2" y="1912291"/>
            <a:ext cx="8228804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7" y="2807971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0812"/>
            <a:ext cx="5523316" cy="87512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1920987"/>
            <a:ext cx="5523316" cy="87950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2809877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8" y="1029912"/>
            <a:ext cx="2601385" cy="87602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919547"/>
            <a:ext cx="2601385" cy="8823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8" y="2815541"/>
            <a:ext cx="2601385" cy="88238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2"/>
          </p:nvPr>
        </p:nvSpPr>
        <p:spPr>
          <a:xfrm>
            <a:off x="3175091" y="3710834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69607" y="3711535"/>
            <a:ext cx="2601385" cy="88734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69607" y="3704375"/>
            <a:ext cx="8228807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884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8" y="218307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8" y="3428693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69609" y="1028703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469608" y="2276081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469610" y="3523458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71620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41874"/>
            <a:ext cx="2601386" cy="10583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9" y="2190957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230144" y="1041876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6025098" y="103400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9604" y="2267855"/>
            <a:ext cx="2601386" cy="107022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9" y="342288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3230144" y="2275722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6025098" y="2267852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69604" y="3505737"/>
            <a:ext cx="2601386" cy="10544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1"/>
          </p:nvPr>
        </p:nvSpPr>
        <p:spPr>
          <a:xfrm>
            <a:off x="3230144" y="3505737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2"/>
          </p:nvPr>
        </p:nvSpPr>
        <p:spPr>
          <a:xfrm>
            <a:off x="6025098" y="349786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29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5" y="2182311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5" y="3428456"/>
            <a:ext cx="8228800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3161"/>
            <a:ext cx="5523314" cy="106234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2267957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3511574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6061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7957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511574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69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2950190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470374" y="1328583"/>
            <a:ext cx="2357942" cy="990107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6"/>
          </p:nvPr>
        </p:nvSpPr>
        <p:spPr>
          <a:xfrm>
            <a:off x="6008925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2950189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/>
          </p:nvPr>
        </p:nvSpPr>
        <p:spPr>
          <a:xfrm>
            <a:off x="6008924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2950191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/>
          </p:nvPr>
        </p:nvSpPr>
        <p:spPr>
          <a:xfrm>
            <a:off x="6008926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950874" y="102870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summary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004412" y="102909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implications her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69604" y="2456302"/>
            <a:ext cx="2357942" cy="991583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469604" y="3585496"/>
            <a:ext cx="2357942" cy="1004792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1565071"/>
            <a:ext cx="342878" cy="21176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2655410"/>
            <a:ext cx="342878" cy="21176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3799291"/>
            <a:ext cx="342878" cy="21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8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sz="800">
                <a:solidFill>
                  <a:srgbClr val="3D505A"/>
                </a:solidFill>
              </a:rPr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 sz="800"/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38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387081"/>
            <a:ext cx="4026196" cy="31658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4" y="1028700"/>
            <a:ext cx="8260028" cy="358378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387077"/>
            <a:ext cx="4026196" cy="316587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099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9604" y="998769"/>
            <a:ext cx="4027784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604" y="1570686"/>
            <a:ext cx="4027784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69040" y="998769"/>
            <a:ext cx="4029366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9040" y="1570686"/>
            <a:ext cx="4029366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605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669040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743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44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293400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17192" y="1028701"/>
            <a:ext cx="2581219" cy="35242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5272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6"/>
            <a:ext cx="9144000" cy="3203452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388325" y="973768"/>
            <a:ext cx="5029200" cy="3086100"/>
          </a:xfrm>
          <a:prstGeom prst="rect">
            <a:avLst/>
          </a:prstGeom>
          <a:solidFill>
            <a:schemeClr val="bg1">
              <a:alpha val="79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b="1" kern="120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43647"/>
            <a:ext cx="4477626" cy="942703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385954"/>
            <a:ext cx="4477626" cy="2551959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799" y="1123950"/>
            <a:ext cx="2771769" cy="229798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FFF7682F-9E83-6844-AC35-F5AE7F91F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581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81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4" y="1671205"/>
            <a:ext cx="8228804" cy="1783340"/>
          </a:xfrm>
        </p:spPr>
        <p:txBody>
          <a:bodyPr/>
          <a:lstStyle>
            <a:lvl1pPr marL="0" indent="0" algn="ctr">
              <a:buNone/>
              <a:defRPr sz="4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</p:spTree>
    <p:extLst>
      <p:ext uri="{BB962C8B-B14F-4D97-AF65-F5344CB8AC3E}">
        <p14:creationId xmlns:p14="http://schemas.microsoft.com/office/powerpoint/2010/main" val="3758064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5171" y="1671205"/>
            <a:ext cx="8213236" cy="1783340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sentence</a:t>
            </a:r>
          </a:p>
        </p:txBody>
      </p:sp>
    </p:spTree>
    <p:extLst>
      <p:ext uri="{BB962C8B-B14F-4D97-AF65-F5344CB8AC3E}">
        <p14:creationId xmlns:p14="http://schemas.microsoft.com/office/powerpoint/2010/main" val="1474771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4629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99060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8" y="886347"/>
            <a:ext cx="8228803" cy="782435"/>
          </a:xfrm>
        </p:spPr>
        <p:txBody>
          <a:bodyPr/>
          <a:lstStyle>
            <a:lvl1pPr marL="0" indent="0" algn="ctr">
              <a:buNone/>
              <a:defRPr sz="45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7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462914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121158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1999" y="855867"/>
            <a:ext cx="8229600" cy="1003415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</a:t>
            </a:r>
            <a:br>
              <a:rPr lang="en-US"/>
            </a:br>
            <a:r>
              <a:rPr lang="en-US"/>
              <a:t>sentence</a:t>
            </a:r>
          </a:p>
        </p:txBody>
      </p:sp>
    </p:spTree>
    <p:extLst>
      <p:ext uri="{BB962C8B-B14F-4D97-AF65-F5344CB8AC3E}">
        <p14:creationId xmlns:p14="http://schemas.microsoft.com/office/powerpoint/2010/main" val="1646187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9609" y="990602"/>
            <a:ext cx="8228803" cy="333017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250"/>
              </a:spcAft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7762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7224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0" y="4786314"/>
            <a:ext cx="3187700" cy="178594"/>
          </a:xfr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en-US"/>
              <a:t>Source: Add text her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1927E3D-112D-B08B-EFCC-1AD629082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6301" y="4849389"/>
            <a:ext cx="291696" cy="156943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62" b="1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fld id="{51B26464-4B37-40DF-8E5B-9D102111D51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47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8"/>
            <a:ext cx="9144000" cy="257725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4" y="3829276"/>
            <a:ext cx="7086596" cy="1094240"/>
          </a:xfrm>
        </p:spPr>
        <p:txBody>
          <a:bodyPr anchor="t">
            <a:noAutofit/>
          </a:bodyPr>
          <a:lstStyle>
            <a:lvl1pPr>
              <a:defRPr sz="2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562350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A067A31F-3036-874C-9398-BD945C47D6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63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7A86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1" y="1513888"/>
            <a:ext cx="8077199" cy="2399744"/>
          </a:xfrm>
        </p:spPr>
        <p:txBody>
          <a:bodyPr anchor="t">
            <a:no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112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9607" y="1028700"/>
            <a:ext cx="8228800" cy="3543300"/>
          </a:xfrm>
        </p:spPr>
        <p:txBody>
          <a:bodyPr>
            <a:noAutofit/>
          </a:bodyPr>
          <a:lstStyle>
            <a:lvl1pPr marL="385754" indent="-385754">
              <a:lnSpc>
                <a:spcPct val="120000"/>
              </a:lnSpc>
              <a:buFont typeface="+mj-lt"/>
              <a:buAutoNum type="arabicPeriod"/>
              <a:defRPr sz="1600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Click to add agenda item he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9905" y="118873"/>
            <a:ext cx="8228013" cy="61931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add agenda title he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892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10" y="1028700"/>
            <a:ext cx="8228801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181422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04" y="1387079"/>
            <a:ext cx="8228802" cy="3165871"/>
          </a:xfrm>
        </p:spPr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  <a:lvl2pPr>
              <a:defRPr>
                <a:solidFill>
                  <a:srgbClr val="3D505A"/>
                </a:solidFill>
              </a:defRPr>
            </a:lvl2pPr>
            <a:lvl3pPr>
              <a:defRPr>
                <a:solidFill>
                  <a:srgbClr val="3D505A"/>
                </a:solidFill>
              </a:defRPr>
            </a:lvl3pPr>
            <a:lvl4pPr>
              <a:defRPr>
                <a:solidFill>
                  <a:srgbClr val="3D505A"/>
                </a:solidFill>
              </a:defRPr>
            </a:lvl4pPr>
            <a:lvl5pPr>
              <a:defRPr>
                <a:solidFill>
                  <a:srgbClr val="3D50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8" y="1028702"/>
            <a:ext cx="8228803" cy="358379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44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10" y="1028701"/>
            <a:ext cx="8228801" cy="35242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412727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8700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3175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497651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4" y="2183077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9604" y="3420812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70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387E61-72F8-0600-05E7-07448D5B5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5478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5" imgH="312" progId="TCLayout.ActiveDocument.1">
                  <p:embed/>
                </p:oleObj>
              </mc:Choice>
              <mc:Fallback>
                <p:oleObj name="think-cell Slide" r:id="rId30" imgW="305" imgH="3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387E61-72F8-0600-05E7-07448D5B5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Headline copy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611" y="1028700"/>
            <a:ext cx="8228801" cy="35433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/>
          <p:cNvSpPr txBox="1">
            <a:spLocks/>
          </p:cNvSpPr>
          <p:nvPr userDrawn="1"/>
        </p:nvSpPr>
        <p:spPr>
          <a:xfrm>
            <a:off x="4140701" y="4684138"/>
            <a:ext cx="862598" cy="12977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4588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5763" indent="-2841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/>
              <a:t>CONFIDENTIA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rot="10800000">
            <a:off x="0" y="742951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auto">
          <a:xfrm rot="10800000" flipH="1">
            <a:off x="468811" y="4629150"/>
            <a:ext cx="822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247DF49-85C3-9542-B1B9-2F213F2DD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/>
          <a:srcRect r="15461" b="17108"/>
          <a:stretch/>
        </p:blipFill>
        <p:spPr>
          <a:xfrm>
            <a:off x="7667707" y="4623200"/>
            <a:ext cx="1030704" cy="2526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E6EB8D0-8673-1D45-BCE1-89F18081C064}"/>
              </a:ext>
            </a:extLst>
          </p:cNvPr>
          <p:cNvGrpSpPr/>
          <p:nvPr userDrawn="1"/>
        </p:nvGrpSpPr>
        <p:grpSpPr>
          <a:xfrm>
            <a:off x="-591603" y="76200"/>
            <a:ext cx="459575" cy="5010150"/>
            <a:chOff x="-773478" y="557787"/>
            <a:chExt cx="641450" cy="699289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08600E-6E6D-614E-A72B-527B9CCAD9C4}"/>
                </a:ext>
              </a:extLst>
            </p:cNvPr>
            <p:cNvSpPr/>
            <p:nvPr userDrawn="1"/>
          </p:nvSpPr>
          <p:spPr>
            <a:xfrm>
              <a:off x="-773477" y="557787"/>
              <a:ext cx="641449" cy="70260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61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8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90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058B7D2-BE70-074B-984C-CF65090BA0D2}"/>
                </a:ext>
              </a:extLst>
            </p:cNvPr>
            <p:cNvSpPr/>
            <p:nvPr userDrawn="1"/>
          </p:nvSpPr>
          <p:spPr>
            <a:xfrm>
              <a:off x="-773477" y="1456400"/>
              <a:ext cx="641449" cy="7026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95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BCE523-CF80-C94A-9BF9-33E08676D4B9}"/>
                </a:ext>
              </a:extLst>
            </p:cNvPr>
            <p:cNvSpPr/>
            <p:nvPr userDrawn="1"/>
          </p:nvSpPr>
          <p:spPr>
            <a:xfrm>
              <a:off x="-773478" y="6848078"/>
              <a:ext cx="641450" cy="7026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9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0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4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1CF04C2-D6C0-7C4F-8F96-C80142BAB3C1}"/>
                </a:ext>
              </a:extLst>
            </p:cNvPr>
            <p:cNvSpPr/>
            <p:nvPr userDrawn="1"/>
          </p:nvSpPr>
          <p:spPr>
            <a:xfrm>
              <a:off x="-773478" y="4152239"/>
              <a:ext cx="641450" cy="70260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66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384DBEF-C8EE-C243-852A-28A240836FC9}"/>
                </a:ext>
              </a:extLst>
            </p:cNvPr>
            <p:cNvSpPr/>
            <p:nvPr userDrawn="1"/>
          </p:nvSpPr>
          <p:spPr>
            <a:xfrm>
              <a:off x="-773478" y="5050852"/>
              <a:ext cx="641450" cy="70260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1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D21F95C-9702-314C-848A-666D808B402F}"/>
                </a:ext>
              </a:extLst>
            </p:cNvPr>
            <p:cNvSpPr/>
            <p:nvPr userDrawn="1"/>
          </p:nvSpPr>
          <p:spPr>
            <a:xfrm>
              <a:off x="-773478" y="5949465"/>
              <a:ext cx="641450" cy="702606"/>
            </a:xfrm>
            <a:prstGeom prst="rect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39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44DE3E-CFD1-A148-BCBA-8C011BA4857A}"/>
                </a:ext>
              </a:extLst>
            </p:cNvPr>
            <p:cNvSpPr/>
            <p:nvPr userDrawn="1"/>
          </p:nvSpPr>
          <p:spPr>
            <a:xfrm>
              <a:off x="-773477" y="2355013"/>
              <a:ext cx="641449" cy="702606"/>
            </a:xfrm>
            <a:prstGeom prst="rect">
              <a:avLst/>
            </a:prstGeom>
            <a:solidFill>
              <a:srgbClr val="6C8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6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2DADD-5D08-3642-B744-CF2E4C66CEEA}"/>
                </a:ext>
              </a:extLst>
            </p:cNvPr>
            <p:cNvSpPr/>
            <p:nvPr userDrawn="1"/>
          </p:nvSpPr>
          <p:spPr>
            <a:xfrm>
              <a:off x="-773478" y="3253626"/>
              <a:ext cx="641450" cy="70260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2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3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44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  <p:sldLayoutId id="2147483695" r:id="rId4"/>
    <p:sldLayoutId id="2147483713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5" r:id="rId21"/>
    <p:sldLayoutId id="2147483714" r:id="rId22"/>
    <p:sldLayoutId id="2147483717" r:id="rId23"/>
    <p:sldLayoutId id="2147483718" r:id="rId24"/>
    <p:sldLayoutId id="2147483719" r:id="rId25"/>
    <p:sldLayoutId id="2147483711" r:id="rId26"/>
    <p:sldLayoutId id="2147483721" r:id="rId27"/>
  </p:sldLayoutIdLst>
  <p:hf hdr="0" dt="0"/>
  <p:txStyles>
    <p:titleStyle>
      <a:lvl1pPr algn="l" defTabSz="342892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013" indent="-12501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1pPr>
      <a:lvl2pPr marL="515528" indent="-17263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2pPr>
      <a:lvl3pPr marL="811986" indent="-12620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3pPr>
      <a:lvl4pPr marL="1202501" indent="-17382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4pPr>
      <a:lvl5pPr marL="1498960" indent="-127394" algn="l" defTabSz="342892" rtl="0" eaLnBrk="1" latinLnBrk="0" hangingPunct="1">
        <a:spcBef>
          <a:spcPts val="600"/>
        </a:spcBef>
        <a:buFont typeface="Arial"/>
        <a:buChar char="•"/>
        <a:tabLst/>
        <a:defRPr sz="1200" kern="1200">
          <a:solidFill>
            <a:srgbClr val="3D505A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2" orient="horz" pos="3016" userDrawn="1">
          <p15:clr>
            <a:srgbClr val="F26B43"/>
          </p15:clr>
        </p15:guide>
        <p15:guide id="3" orient="horz" pos="874" userDrawn="1">
          <p15:clr>
            <a:srgbClr val="F26B43"/>
          </p15:clr>
        </p15:guide>
        <p15:guide id="4" orient="horz" pos="72" userDrawn="1">
          <p15:clr>
            <a:srgbClr val="F26B43"/>
          </p15:clr>
        </p15:guide>
        <p15:guide id="5" orient="horz" pos="3091" userDrawn="1">
          <p15:clr>
            <a:srgbClr val="F26B43"/>
          </p15:clr>
        </p15:guide>
        <p15:guide id="6" orient="horz" pos="3169" userDrawn="1">
          <p15:clr>
            <a:srgbClr val="F26B43"/>
          </p15:clr>
        </p15:guide>
        <p15:guide id="7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tags" Target="../tags/tag286.xml"/><Relationship Id="rId3" Type="http://schemas.openxmlformats.org/officeDocument/2006/relationships/tags" Target="../tags/tag263.xml"/><Relationship Id="rId21" Type="http://schemas.openxmlformats.org/officeDocument/2006/relationships/tags" Target="../tags/tag281.xml"/><Relationship Id="rId34" Type="http://schemas.openxmlformats.org/officeDocument/2006/relationships/chart" Target="../charts/chart1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tags" Target="../tags/tag285.xml"/><Relationship Id="rId33" Type="http://schemas.openxmlformats.org/officeDocument/2006/relationships/image" Target="../media/image5.emf"/><Relationship Id="rId2" Type="http://schemas.openxmlformats.org/officeDocument/2006/relationships/tags" Target="../tags/tag262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29" Type="http://schemas.openxmlformats.org/officeDocument/2006/relationships/tags" Target="../tags/tag289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265.x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tags" Target="../tags/tag288.xml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31" Type="http://schemas.openxmlformats.org/officeDocument/2006/relationships/notesSlide" Target="../notesSlides/notesSlide6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tags" Target="../tags/tag287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2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0.xml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47" Type="http://schemas.openxmlformats.org/officeDocument/2006/relationships/tags" Target="../tags/tag337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9" Type="http://schemas.openxmlformats.org/officeDocument/2006/relationships/tags" Target="../tags/tag319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tags" Target="../tags/tag335.xml"/><Relationship Id="rId53" Type="http://schemas.openxmlformats.org/officeDocument/2006/relationships/chart" Target="../charts/chart15.xml"/><Relationship Id="rId5" Type="http://schemas.openxmlformats.org/officeDocument/2006/relationships/tags" Target="../tags/tag295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tags" Target="../tags/tag334.xml"/><Relationship Id="rId52" Type="http://schemas.openxmlformats.org/officeDocument/2006/relationships/chart" Target="../charts/chart14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tags" Target="../tags/tag333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298.xml"/><Relationship Id="rId51" Type="http://schemas.openxmlformats.org/officeDocument/2006/relationships/image" Target="../media/image5.emf"/><Relationship Id="rId3" Type="http://schemas.openxmlformats.org/officeDocument/2006/relationships/tags" Target="../tags/tag293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tags" Target="../tags/tag336.xml"/><Relationship Id="rId20" Type="http://schemas.openxmlformats.org/officeDocument/2006/relationships/tags" Target="../tags/tag310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49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363.xml"/><Relationship Id="rId21" Type="http://schemas.openxmlformats.org/officeDocument/2006/relationships/tags" Target="../tags/tag358.xml"/><Relationship Id="rId42" Type="http://schemas.openxmlformats.org/officeDocument/2006/relationships/tags" Target="../tags/tag379.xml"/><Relationship Id="rId47" Type="http://schemas.openxmlformats.org/officeDocument/2006/relationships/tags" Target="../tags/tag384.xml"/><Relationship Id="rId63" Type="http://schemas.openxmlformats.org/officeDocument/2006/relationships/tags" Target="../tags/tag400.xml"/><Relationship Id="rId68" Type="http://schemas.openxmlformats.org/officeDocument/2006/relationships/tags" Target="../tags/tag405.xml"/><Relationship Id="rId16" Type="http://schemas.openxmlformats.org/officeDocument/2006/relationships/tags" Target="../tags/tag353.xml"/><Relationship Id="rId11" Type="http://schemas.openxmlformats.org/officeDocument/2006/relationships/tags" Target="../tags/tag348.xml"/><Relationship Id="rId24" Type="http://schemas.openxmlformats.org/officeDocument/2006/relationships/tags" Target="../tags/tag361.xml"/><Relationship Id="rId32" Type="http://schemas.openxmlformats.org/officeDocument/2006/relationships/tags" Target="../tags/tag369.xml"/><Relationship Id="rId37" Type="http://schemas.openxmlformats.org/officeDocument/2006/relationships/tags" Target="../tags/tag374.xml"/><Relationship Id="rId40" Type="http://schemas.openxmlformats.org/officeDocument/2006/relationships/tags" Target="../tags/tag377.xml"/><Relationship Id="rId45" Type="http://schemas.openxmlformats.org/officeDocument/2006/relationships/tags" Target="../tags/tag382.xml"/><Relationship Id="rId53" Type="http://schemas.openxmlformats.org/officeDocument/2006/relationships/tags" Target="../tags/tag390.xml"/><Relationship Id="rId58" Type="http://schemas.openxmlformats.org/officeDocument/2006/relationships/tags" Target="../tags/tag395.xml"/><Relationship Id="rId66" Type="http://schemas.openxmlformats.org/officeDocument/2006/relationships/tags" Target="../tags/tag403.xml"/><Relationship Id="rId74" Type="http://schemas.openxmlformats.org/officeDocument/2006/relationships/image" Target="../media/image5.emf"/><Relationship Id="rId5" Type="http://schemas.openxmlformats.org/officeDocument/2006/relationships/tags" Target="../tags/tag342.xml"/><Relationship Id="rId61" Type="http://schemas.openxmlformats.org/officeDocument/2006/relationships/tags" Target="../tags/tag398.xml"/><Relationship Id="rId19" Type="http://schemas.openxmlformats.org/officeDocument/2006/relationships/tags" Target="../tags/tag356.xml"/><Relationship Id="rId14" Type="http://schemas.openxmlformats.org/officeDocument/2006/relationships/tags" Target="../tags/tag351.xml"/><Relationship Id="rId22" Type="http://schemas.openxmlformats.org/officeDocument/2006/relationships/tags" Target="../tags/tag359.xml"/><Relationship Id="rId27" Type="http://schemas.openxmlformats.org/officeDocument/2006/relationships/tags" Target="../tags/tag364.xml"/><Relationship Id="rId30" Type="http://schemas.openxmlformats.org/officeDocument/2006/relationships/tags" Target="../tags/tag367.xml"/><Relationship Id="rId35" Type="http://schemas.openxmlformats.org/officeDocument/2006/relationships/tags" Target="../tags/tag372.xml"/><Relationship Id="rId43" Type="http://schemas.openxmlformats.org/officeDocument/2006/relationships/tags" Target="../tags/tag380.xml"/><Relationship Id="rId48" Type="http://schemas.openxmlformats.org/officeDocument/2006/relationships/tags" Target="../tags/tag385.xml"/><Relationship Id="rId56" Type="http://schemas.openxmlformats.org/officeDocument/2006/relationships/tags" Target="../tags/tag393.xml"/><Relationship Id="rId64" Type="http://schemas.openxmlformats.org/officeDocument/2006/relationships/tags" Target="../tags/tag401.xml"/><Relationship Id="rId69" Type="http://schemas.openxmlformats.org/officeDocument/2006/relationships/tags" Target="../tags/tag406.xml"/><Relationship Id="rId77" Type="http://schemas.openxmlformats.org/officeDocument/2006/relationships/chart" Target="../charts/chart18.xml"/><Relationship Id="rId8" Type="http://schemas.openxmlformats.org/officeDocument/2006/relationships/tags" Target="../tags/tag345.xml"/><Relationship Id="rId51" Type="http://schemas.openxmlformats.org/officeDocument/2006/relationships/tags" Target="../tags/tag388.xml"/><Relationship Id="rId72" Type="http://schemas.openxmlformats.org/officeDocument/2006/relationships/slideLayout" Target="../slideLayouts/slideLayout5.xml"/><Relationship Id="rId3" Type="http://schemas.openxmlformats.org/officeDocument/2006/relationships/tags" Target="../tags/tag340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tags" Target="../tags/tag362.xml"/><Relationship Id="rId33" Type="http://schemas.openxmlformats.org/officeDocument/2006/relationships/tags" Target="../tags/tag370.xml"/><Relationship Id="rId38" Type="http://schemas.openxmlformats.org/officeDocument/2006/relationships/tags" Target="../tags/tag375.xml"/><Relationship Id="rId46" Type="http://schemas.openxmlformats.org/officeDocument/2006/relationships/tags" Target="../tags/tag383.xml"/><Relationship Id="rId59" Type="http://schemas.openxmlformats.org/officeDocument/2006/relationships/tags" Target="../tags/tag396.xml"/><Relationship Id="rId67" Type="http://schemas.openxmlformats.org/officeDocument/2006/relationships/tags" Target="../tags/tag404.xml"/><Relationship Id="rId20" Type="http://schemas.openxmlformats.org/officeDocument/2006/relationships/tags" Target="../tags/tag357.xml"/><Relationship Id="rId41" Type="http://schemas.openxmlformats.org/officeDocument/2006/relationships/tags" Target="../tags/tag378.xml"/><Relationship Id="rId54" Type="http://schemas.openxmlformats.org/officeDocument/2006/relationships/tags" Target="../tags/tag391.xml"/><Relationship Id="rId62" Type="http://schemas.openxmlformats.org/officeDocument/2006/relationships/tags" Target="../tags/tag399.xml"/><Relationship Id="rId70" Type="http://schemas.openxmlformats.org/officeDocument/2006/relationships/tags" Target="../tags/tag407.xml"/><Relationship Id="rId75" Type="http://schemas.openxmlformats.org/officeDocument/2006/relationships/chart" Target="../charts/chart16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28" Type="http://schemas.openxmlformats.org/officeDocument/2006/relationships/tags" Target="../tags/tag365.xml"/><Relationship Id="rId36" Type="http://schemas.openxmlformats.org/officeDocument/2006/relationships/tags" Target="../tags/tag373.xml"/><Relationship Id="rId49" Type="http://schemas.openxmlformats.org/officeDocument/2006/relationships/tags" Target="../tags/tag386.xml"/><Relationship Id="rId57" Type="http://schemas.openxmlformats.org/officeDocument/2006/relationships/tags" Target="../tags/tag394.xml"/><Relationship Id="rId10" Type="http://schemas.openxmlformats.org/officeDocument/2006/relationships/tags" Target="../tags/tag347.xml"/><Relationship Id="rId31" Type="http://schemas.openxmlformats.org/officeDocument/2006/relationships/tags" Target="../tags/tag368.xml"/><Relationship Id="rId44" Type="http://schemas.openxmlformats.org/officeDocument/2006/relationships/tags" Target="../tags/tag381.xml"/><Relationship Id="rId52" Type="http://schemas.openxmlformats.org/officeDocument/2006/relationships/tags" Target="../tags/tag389.xml"/><Relationship Id="rId60" Type="http://schemas.openxmlformats.org/officeDocument/2006/relationships/tags" Target="../tags/tag397.xml"/><Relationship Id="rId65" Type="http://schemas.openxmlformats.org/officeDocument/2006/relationships/tags" Target="../tags/tag402.xml"/><Relationship Id="rId73" Type="http://schemas.openxmlformats.org/officeDocument/2006/relationships/oleObject" Target="../embeddings/oleObject14.bin"/><Relationship Id="rId78" Type="http://schemas.openxmlformats.org/officeDocument/2006/relationships/chart" Target="../charts/chart19.xml"/><Relationship Id="rId4" Type="http://schemas.openxmlformats.org/officeDocument/2006/relationships/tags" Target="../tags/tag341.xml"/><Relationship Id="rId9" Type="http://schemas.openxmlformats.org/officeDocument/2006/relationships/tags" Target="../tags/tag346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9" Type="http://schemas.openxmlformats.org/officeDocument/2006/relationships/tags" Target="../tags/tag376.xml"/><Relationship Id="rId34" Type="http://schemas.openxmlformats.org/officeDocument/2006/relationships/tags" Target="../tags/tag371.xml"/><Relationship Id="rId50" Type="http://schemas.openxmlformats.org/officeDocument/2006/relationships/tags" Target="../tags/tag387.xml"/><Relationship Id="rId55" Type="http://schemas.openxmlformats.org/officeDocument/2006/relationships/tags" Target="../tags/tag392.xml"/><Relationship Id="rId76" Type="http://schemas.openxmlformats.org/officeDocument/2006/relationships/chart" Target="../charts/chart17.xml"/><Relationship Id="rId7" Type="http://schemas.openxmlformats.org/officeDocument/2006/relationships/tags" Target="../tags/tag344.xml"/><Relationship Id="rId71" Type="http://schemas.openxmlformats.org/officeDocument/2006/relationships/tags" Target="../tags/tag408.xml"/><Relationship Id="rId2" Type="http://schemas.openxmlformats.org/officeDocument/2006/relationships/tags" Target="../tags/tag339.xml"/><Relationship Id="rId29" Type="http://schemas.openxmlformats.org/officeDocument/2006/relationships/tags" Target="../tags/tag36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3" Type="http://schemas.openxmlformats.org/officeDocument/2006/relationships/tags" Target="../tags/tag411.xml"/><Relationship Id="rId21" Type="http://schemas.openxmlformats.org/officeDocument/2006/relationships/image" Target="../media/image5.emf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oleObject" Target="../embeddings/oleObject15.bin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10" Type="http://schemas.openxmlformats.org/officeDocument/2006/relationships/tags" Target="../tags/tag418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chart" Target="../charts/char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svg"/><Relationship Id="rId12" Type="http://schemas.openxmlformats.org/officeDocument/2006/relationships/hyperlink" Target="https://ojs.aaai.org/index.php/ICWSM/article/view/7347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27.xml"/><Relationship Id="rId6" Type="http://schemas.openxmlformats.org/officeDocument/2006/relationships/image" Target="../media/image24.png"/><Relationship Id="rId11" Type="http://schemas.openxmlformats.org/officeDocument/2006/relationships/hyperlink" Target="https://pushshift.io/signup" TargetMode="External"/><Relationship Id="rId5" Type="http://schemas.openxmlformats.org/officeDocument/2006/relationships/image" Target="../media/image5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" Type="http://schemas.openxmlformats.org/officeDocument/2006/relationships/tags" Target="../tags/tag430.xml"/><Relationship Id="rId21" Type="http://schemas.openxmlformats.org/officeDocument/2006/relationships/tags" Target="../tags/tag448.xml"/><Relationship Id="rId34" Type="http://schemas.openxmlformats.org/officeDocument/2006/relationships/chart" Target="../charts/chart21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5.emf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tags" Target="../tags/tag456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notesSlide" Target="../notesSlides/notesSlide9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slideLayout" Target="../slideLayouts/slideLayout20.xml"/><Relationship Id="rId35" Type="http://schemas.openxmlformats.org/officeDocument/2006/relationships/chart" Target="../charts/chart22.xml"/><Relationship Id="rId8" Type="http://schemas.openxmlformats.org/officeDocument/2006/relationships/tags" Target="../tags/tag4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7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8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20.xml"/><Relationship Id="rId47" Type="http://schemas.openxmlformats.org/officeDocument/2006/relationships/image" Target="../media/image6.png"/><Relationship Id="rId50" Type="http://schemas.openxmlformats.org/officeDocument/2006/relationships/image" Target="../media/image8.pn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48" Type="http://schemas.openxmlformats.org/officeDocument/2006/relationships/image" Target="../media/image7.png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9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0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1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oleObject" Target="../embeddings/oleObject4.bin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image" Target="../media/image9.png"/><Relationship Id="rId47" Type="http://schemas.openxmlformats.org/officeDocument/2006/relationships/image" Target="../media/image13.png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slideLayout" Target="../slideLayouts/slideLayout5.xml"/><Relationship Id="rId40" Type="http://schemas.openxmlformats.org/officeDocument/2006/relationships/image" Target="../media/image1.emf"/><Relationship Id="rId45" Type="http://schemas.openxmlformats.org/officeDocument/2006/relationships/image" Target="../media/image11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chart" Target="../charts/chart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image" Target="../media/image10.png"/><Relationship Id="rId48" Type="http://schemas.openxmlformats.org/officeDocument/2006/relationships/image" Target="../media/image14.png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notesSlide" Target="../notesSlides/notesSlide2.xml"/><Relationship Id="rId46" Type="http://schemas.openxmlformats.org/officeDocument/2006/relationships/image" Target="../media/image12.png"/><Relationship Id="rId20" Type="http://schemas.openxmlformats.org/officeDocument/2006/relationships/tags" Target="../tags/tag64.xml"/><Relationship Id="rId41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slideLayout" Target="../slideLayouts/slideLayout5.xml"/><Relationship Id="rId55" Type="http://schemas.openxmlformats.org/officeDocument/2006/relationships/chart" Target="../charts/chart6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image" Target="../media/image5.emf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oleObject" Target="../embeddings/oleObject5.bin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8" Type="http://schemas.openxmlformats.org/officeDocument/2006/relationships/tags" Target="../tags/tag88.xml"/><Relationship Id="rId51" Type="http://schemas.openxmlformats.org/officeDocument/2006/relationships/notesSlide" Target="../notesSlides/notesSlide3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chart" Target="../charts/chart5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0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6" Type="http://schemas.openxmlformats.org/officeDocument/2006/relationships/image" Target="../media/image140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tags" Target="../tags/tag134.xml"/><Relationship Id="rId21" Type="http://schemas.openxmlformats.org/officeDocument/2006/relationships/tags" Target="../tags/tag152.xml"/><Relationship Id="rId34" Type="http://schemas.openxmlformats.org/officeDocument/2006/relationships/chart" Target="../charts/chart7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image" Target="../media/image5.emf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tags" Target="../tags/tag160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oleObject" Target="../embeddings/oleObject8.bin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notesSlide" Target="../notesSlides/notesSlide5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39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86.xml"/><Relationship Id="rId21" Type="http://schemas.openxmlformats.org/officeDocument/2006/relationships/tags" Target="../tags/tag181.xml"/><Relationship Id="rId42" Type="http://schemas.openxmlformats.org/officeDocument/2006/relationships/tags" Target="../tags/tag202.xml"/><Relationship Id="rId47" Type="http://schemas.openxmlformats.org/officeDocument/2006/relationships/tags" Target="../tags/tag207.xml"/><Relationship Id="rId63" Type="http://schemas.openxmlformats.org/officeDocument/2006/relationships/tags" Target="../tags/tag223.xml"/><Relationship Id="rId68" Type="http://schemas.openxmlformats.org/officeDocument/2006/relationships/tags" Target="../tags/tag228.xml"/><Relationship Id="rId16" Type="http://schemas.openxmlformats.org/officeDocument/2006/relationships/tags" Target="../tags/tag17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tags" Target="../tags/tag200.xml"/><Relationship Id="rId45" Type="http://schemas.openxmlformats.org/officeDocument/2006/relationships/tags" Target="../tags/tag205.xml"/><Relationship Id="rId53" Type="http://schemas.openxmlformats.org/officeDocument/2006/relationships/tags" Target="../tags/tag213.xml"/><Relationship Id="rId58" Type="http://schemas.openxmlformats.org/officeDocument/2006/relationships/tags" Target="../tags/tag218.xml"/><Relationship Id="rId66" Type="http://schemas.openxmlformats.org/officeDocument/2006/relationships/tags" Target="../tags/tag226.xml"/><Relationship Id="rId74" Type="http://schemas.openxmlformats.org/officeDocument/2006/relationships/oleObject" Target="../embeddings/oleObject9.bin"/><Relationship Id="rId79" Type="http://schemas.openxmlformats.org/officeDocument/2006/relationships/chart" Target="../charts/chart11.xml"/><Relationship Id="rId5" Type="http://schemas.openxmlformats.org/officeDocument/2006/relationships/tags" Target="../tags/tag165.xml"/><Relationship Id="rId61" Type="http://schemas.openxmlformats.org/officeDocument/2006/relationships/tags" Target="../tags/tag221.xml"/><Relationship Id="rId19" Type="http://schemas.openxmlformats.org/officeDocument/2006/relationships/tags" Target="../tags/tag17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tags" Target="../tags/tag203.xml"/><Relationship Id="rId48" Type="http://schemas.openxmlformats.org/officeDocument/2006/relationships/tags" Target="../tags/tag208.xml"/><Relationship Id="rId56" Type="http://schemas.openxmlformats.org/officeDocument/2006/relationships/tags" Target="../tags/tag216.xml"/><Relationship Id="rId64" Type="http://schemas.openxmlformats.org/officeDocument/2006/relationships/tags" Target="../tags/tag224.xml"/><Relationship Id="rId69" Type="http://schemas.openxmlformats.org/officeDocument/2006/relationships/tags" Target="../tags/tag229.xml"/><Relationship Id="rId77" Type="http://schemas.openxmlformats.org/officeDocument/2006/relationships/chart" Target="../charts/chart9.xml"/><Relationship Id="rId8" Type="http://schemas.openxmlformats.org/officeDocument/2006/relationships/tags" Target="../tags/tag168.xml"/><Relationship Id="rId51" Type="http://schemas.openxmlformats.org/officeDocument/2006/relationships/tags" Target="../tags/tag211.xml"/><Relationship Id="rId72" Type="http://schemas.openxmlformats.org/officeDocument/2006/relationships/tags" Target="../tags/tag232.xml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tags" Target="../tags/tag198.xml"/><Relationship Id="rId46" Type="http://schemas.openxmlformats.org/officeDocument/2006/relationships/tags" Target="../tags/tag206.xml"/><Relationship Id="rId59" Type="http://schemas.openxmlformats.org/officeDocument/2006/relationships/tags" Target="../tags/tag219.xml"/><Relationship Id="rId67" Type="http://schemas.openxmlformats.org/officeDocument/2006/relationships/tags" Target="../tags/tag227.xml"/><Relationship Id="rId20" Type="http://schemas.openxmlformats.org/officeDocument/2006/relationships/tags" Target="../tags/tag180.xml"/><Relationship Id="rId41" Type="http://schemas.openxmlformats.org/officeDocument/2006/relationships/tags" Target="../tags/tag201.xml"/><Relationship Id="rId54" Type="http://schemas.openxmlformats.org/officeDocument/2006/relationships/tags" Target="../tags/tag214.xml"/><Relationship Id="rId62" Type="http://schemas.openxmlformats.org/officeDocument/2006/relationships/tags" Target="../tags/tag222.xml"/><Relationship Id="rId70" Type="http://schemas.openxmlformats.org/officeDocument/2006/relationships/tags" Target="../tags/tag230.xml"/><Relationship Id="rId75" Type="http://schemas.openxmlformats.org/officeDocument/2006/relationships/image" Target="../media/image5.emf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49" Type="http://schemas.openxmlformats.org/officeDocument/2006/relationships/tags" Target="../tags/tag209.xml"/><Relationship Id="rId57" Type="http://schemas.openxmlformats.org/officeDocument/2006/relationships/tags" Target="../tags/tag217.xml"/><Relationship Id="rId10" Type="http://schemas.openxmlformats.org/officeDocument/2006/relationships/tags" Target="../tags/tag170.xml"/><Relationship Id="rId31" Type="http://schemas.openxmlformats.org/officeDocument/2006/relationships/tags" Target="../tags/tag191.xml"/><Relationship Id="rId44" Type="http://schemas.openxmlformats.org/officeDocument/2006/relationships/tags" Target="../tags/tag204.xml"/><Relationship Id="rId52" Type="http://schemas.openxmlformats.org/officeDocument/2006/relationships/tags" Target="../tags/tag212.xml"/><Relationship Id="rId60" Type="http://schemas.openxmlformats.org/officeDocument/2006/relationships/tags" Target="../tags/tag220.xml"/><Relationship Id="rId65" Type="http://schemas.openxmlformats.org/officeDocument/2006/relationships/tags" Target="../tags/tag225.xml"/><Relationship Id="rId73" Type="http://schemas.openxmlformats.org/officeDocument/2006/relationships/slideLayout" Target="../slideLayouts/slideLayout5.xml"/><Relationship Id="rId78" Type="http://schemas.openxmlformats.org/officeDocument/2006/relationships/chart" Target="../charts/chart1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9" Type="http://schemas.openxmlformats.org/officeDocument/2006/relationships/tags" Target="../tags/tag199.xml"/><Relationship Id="rId34" Type="http://schemas.openxmlformats.org/officeDocument/2006/relationships/tags" Target="../tags/tag194.xml"/><Relationship Id="rId50" Type="http://schemas.openxmlformats.org/officeDocument/2006/relationships/tags" Target="../tags/tag210.xml"/><Relationship Id="rId55" Type="http://schemas.openxmlformats.org/officeDocument/2006/relationships/tags" Target="../tags/tag215.xml"/><Relationship Id="rId76" Type="http://schemas.openxmlformats.org/officeDocument/2006/relationships/chart" Target="../charts/chart8.xml"/><Relationship Id="rId7" Type="http://schemas.openxmlformats.org/officeDocument/2006/relationships/tags" Target="../tags/tag167.xml"/><Relationship Id="rId71" Type="http://schemas.openxmlformats.org/officeDocument/2006/relationships/tags" Target="../tags/tag231.xml"/><Relationship Id="rId2" Type="http://schemas.openxmlformats.org/officeDocument/2006/relationships/tags" Target="../tags/tag162.xml"/><Relationship Id="rId29" Type="http://schemas.openxmlformats.org/officeDocument/2006/relationships/tags" Target="../tags/tag1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tags" Target="../tags/tag258.xml"/><Relationship Id="rId3" Type="http://schemas.openxmlformats.org/officeDocument/2006/relationships/tags" Target="../tags/tag23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tags" Target="../tags/tag257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29" Type="http://schemas.openxmlformats.org/officeDocument/2006/relationships/slideLayout" Target="../slideLayouts/slideLayout5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tags" Target="../tags/tag256.xml"/><Relationship Id="rId32" Type="http://schemas.openxmlformats.org/officeDocument/2006/relationships/chart" Target="../charts/chart12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28" Type="http://schemas.openxmlformats.org/officeDocument/2006/relationships/tags" Target="../tags/tag260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31" Type="http://schemas.openxmlformats.org/officeDocument/2006/relationships/image" Target="../media/image5.emf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Relationship Id="rId27" Type="http://schemas.openxmlformats.org/officeDocument/2006/relationships/tags" Target="../tags/tag259.xml"/><Relationship Id="rId30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005883-B97F-6F7B-4693-6CF561E55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24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12" progId="TCLayout.ActiveDocument.1">
                  <p:embed/>
                </p:oleObj>
              </mc:Choice>
              <mc:Fallback>
                <p:oleObj name="think-cell Slide" r:id="rId3" imgW="305" imgH="3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005883-B97F-6F7B-4693-6CF561E55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9132"/>
            <a:ext cx="7772400" cy="1834618"/>
          </a:xfrm>
        </p:spPr>
        <p:txBody>
          <a:bodyPr vert="horz"/>
          <a:lstStyle/>
          <a:p>
            <a:r>
              <a:rPr lang="en-US" dirty="0"/>
              <a:t>Engagement Substitution on Social Forums:</a:t>
            </a:r>
            <a:br>
              <a:rPr lang="en-US" dirty="0"/>
            </a:br>
            <a:r>
              <a:rPr lang="en-US" dirty="0"/>
              <a:t>The Case of Meme Stocks and Red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71888"/>
            <a:ext cx="4477626" cy="918772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dirty="0"/>
              <a:t>KS Economic Research Team</a:t>
            </a:r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vember 6, 2023</a:t>
            </a:r>
          </a:p>
        </p:txBody>
      </p:sp>
    </p:spTree>
    <p:extLst>
      <p:ext uri="{BB962C8B-B14F-4D97-AF65-F5344CB8AC3E}">
        <p14:creationId xmlns:p14="http://schemas.microsoft.com/office/powerpoint/2010/main" val="3017263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31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06238" y="1190625"/>
            <a:ext cx="128032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opposite was true for the engaged users who substituted during the shock and engaged less follow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3FF296D6-5A42-FE55-995F-A8A6EA7D36B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147903"/>
              </p:ext>
            </p:extLst>
          </p:nvPr>
        </p:nvGraphicFramePr>
        <p:xfrm>
          <a:off x="663575" y="1184275"/>
          <a:ext cx="8116888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656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DA9423-84A2-46FA-B132-1EADF3715DA8}" type="datetime'''''''''''''''''''''''''0''''''''''''''''.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CEF80BE-7B2F-3E62-1C65-69932E6656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35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642AE7-AA45-425D-B02E-A00D50EDECD8}" type="datetime'0''''''''''.''''''''''''''5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20957B-5512-ED99-3039-05B7FB98ED2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05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E13EB5-703D-4C24-A943-33335D2B1728}" type="datetime'''''''''1''''''''''''''''''''.''''''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69D307-FBDB-1680-67A6-9A48634F299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73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506102-2EA9-4908-82B4-AA30AC01E0BF}" type="datetime'''1.''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8D2D2A1-0008-B120-EE69-52135B1D9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432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3625FF-EACA-49EB-BDC4-FC66FBC38665}" type="datetime'''''''''''''''''''''''2''.''''''0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5D0B233-942A-E575-8677-3CF4707160C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3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31B074F-F3F5-4200-83E8-FFBDBE1AED7A}" type="datetime'''''''2''''''''''''''''''.5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ABC0D89-7B2E-CC73-4338-0E5EDFB98E1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2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571582-CBD6-43A2-B201-0908A8F3FA83}" type="datetime'''''''''''3''''''''''''''.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CD33574-45BE-06DD-8186-BFC3A1E61F5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10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1A5BC56-3B2E-4B38-8249-6022A8555406}" type="datetime'''3''''''.''''5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E09A1CD-C317-602C-D005-D80C93EF8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567B43A-5C99-49F3-9810-6AE60463A647}" type="datetime'''''''''''4''''.''0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D09335B-2556-F829-E700-627535EAE7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380AC0-C8F8-460D-BBA2-BD579CFF73A0}" type="datetime'''''''''''''''''''''''''''''''4.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462588" y="1295400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462588" y="1468438"/>
            <a:ext cx="2095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462588" y="1641475"/>
            <a:ext cx="209550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529263" y="12573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29263" y="1430338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529263" y="1603375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32463" y="1238250"/>
            <a:ext cx="1611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8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32463" y="1411288"/>
            <a:ext cx="1789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F647B1F-75C3-4659-9BEE-82E08146C085}" type="datetime'Mean com''m''ent''s on a''''ll ot''''h''er s''u''b''reddi''t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8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732463" y="1584325"/>
            <a:ext cx="976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8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4 of pre-shock engagement of pre-shock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ed engagement during the shocked period away from other subreddi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1895475"/>
            <a:ext cx="3764761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796941" y="1383727"/>
            <a:ext cx="949293" cy="455608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54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25139" y="2240976"/>
            <a:ext cx="3967552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68419" y="1711678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03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E25DC6E-B892-489F-DAFA-0C6E723CBB17}"/>
              </a:ext>
            </a:extLst>
          </p:cNvPr>
          <p:cNvCxnSpPr>
            <a:cxnSpLocks/>
          </p:cNvCxnSpPr>
          <p:nvPr/>
        </p:nvCxnSpPr>
        <p:spPr>
          <a:xfrm flipH="1" flipV="1">
            <a:off x="4734270" y="2197453"/>
            <a:ext cx="537818" cy="888569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31F15F3-83EC-6C11-77ED-D085BEAABEF3}"/>
              </a:ext>
            </a:extLst>
          </p:cNvPr>
          <p:cNvSpPr/>
          <p:nvPr/>
        </p:nvSpPr>
        <p:spPr bwMode="auto">
          <a:xfrm>
            <a:off x="5114632" y="2976686"/>
            <a:ext cx="2003304" cy="474974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eem to substitute comments during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66FD78-B71B-E238-501A-89291A3D908D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50552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4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So far we’ve looked at a broad group of users – what happens if we look at pre-existing r/</a:t>
            </a:r>
            <a:r>
              <a:rPr lang="en-US" err="1"/>
              <a:t>wallstreetbets</a:t>
            </a:r>
            <a:r>
              <a:rPr lang="en-US"/>
              <a:t> users v. new r/</a:t>
            </a:r>
            <a:r>
              <a:rPr lang="en-US" err="1"/>
              <a:t>wallstreetbets</a:t>
            </a:r>
            <a:r>
              <a:rPr lang="en-US"/>
              <a:t> users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2895DDD-6EFA-E881-C9C9-2C56C47B0604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A0CCE41-6AA4-7C56-C43C-7FA2A64871D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A9BAD49-72D7-510A-9135-4D0FE3B19BC7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02ADD61-45F1-C8C6-D721-B5D11BDBD0DB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2F26C61-EE91-B1C6-024D-FD0101E7D76B}"/>
              </a:ext>
            </a:extLst>
          </p:cNvPr>
          <p:cNvCxnSpPr>
            <a:cxnSpLocks/>
            <a:stCxn id="124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837426F-984B-84A4-CE53-6BAFCA008EE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4A307F7C-C350-D4F7-CBA5-E13E491EB480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AE75E9F-63EF-6925-F44C-3F4EF577EF65}"/>
              </a:ext>
            </a:extLst>
          </p:cNvPr>
          <p:cNvCxnSpPr>
            <a:cxnSpLocks/>
            <a:stCxn id="129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2139A2AB-C1F5-BFB0-D3F2-0F4E1D77AE4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272E326-7CD9-A70C-1286-E941230589EF}"/>
              </a:ext>
            </a:extLst>
          </p:cNvPr>
          <p:cNvCxnSpPr>
            <a:cxnSpLocks/>
            <a:stCxn id="13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8043902-DB78-0B51-AB12-5682072EA5E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674860B-5595-A430-8501-EFEFAA43F0A1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F9CE0C06-EEB9-7D71-E93D-EE6D8177EC1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648E02D4-5AE5-DE2C-4F47-4EFF83902157}"/>
              </a:ext>
            </a:extLst>
          </p:cNvPr>
          <p:cNvCxnSpPr>
            <a:cxnSpLocks/>
            <a:stCxn id="135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ight Brace 136">
            <a:extLst>
              <a:ext uri="{FF2B5EF4-FFF2-40B4-BE49-F238E27FC236}">
                <a16:creationId xmlns:a16="http://schemas.microsoft.com/office/drawing/2014/main" id="{560569F4-669D-4044-E0C8-89D19278F7B6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E164178-B4C2-7F85-4CEE-499A7DB7FDA5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1C5056D3-BB52-87EA-2C8C-DB3138298B1E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483FE9C-DA73-BA06-094F-D3390EB6E124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E805542-2A38-3EAC-B67F-325F75B19319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D52C246-90A5-2A13-0D0C-83FBCAB13B2A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379F32A-2ABE-3397-2488-BC5044752E5F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29E2C73-7203-35AB-64CE-476B67CE587F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6E72069D-BF33-3DE5-554F-3F0D0A12B127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C92B9C1-6FDF-B079-249D-06FB54B12B45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6E5B355C-9DA7-7DAE-4899-E435B8121684}"/>
              </a:ext>
            </a:extLst>
          </p:cNvPr>
          <p:cNvCxnSpPr>
            <a:cxnSpLocks/>
            <a:stCxn id="146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84F110C-0082-B103-13C1-B08E513C4A6D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E019494C-75B0-239D-C5E7-746DBBC1D795}"/>
              </a:ext>
            </a:extLst>
          </p:cNvPr>
          <p:cNvCxnSpPr>
            <a:cxnSpLocks/>
            <a:stCxn id="146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A4F877C-A00C-0735-6B93-3ADB3F871019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C9546A6F-91BF-4A6B-378D-70E5C52E50FE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DAC8A18E-53D5-BD94-5D8A-E364939DDF1E}"/>
              </a:ext>
            </a:extLst>
          </p:cNvPr>
          <p:cNvCxnSpPr>
            <a:cxnSpLocks/>
            <a:stCxn id="151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99CDE047-1836-90E1-DBC7-911D70A7C9E8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DD2F4874-2C20-1D77-31BC-1A33CACF89A7}"/>
              </a:ext>
            </a:extLst>
          </p:cNvPr>
          <p:cNvCxnSpPr>
            <a:cxnSpLocks/>
            <a:stCxn id="153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8212E4B7-F416-0CDF-8A50-533233CD3E9C}"/>
              </a:ext>
            </a:extLst>
          </p:cNvPr>
          <p:cNvCxnSpPr>
            <a:cxnSpLocks/>
            <a:stCxn id="153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C35C7164-7536-23FE-EE18-25C85C57B177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Oval 156">
            <a:extLst>
              <a:ext uri="{FF2B5EF4-FFF2-40B4-BE49-F238E27FC236}">
                <a16:creationId xmlns:a16="http://schemas.microsoft.com/office/drawing/2014/main" id="{DCE6049C-9AB6-984E-03D8-F8A3AB398E61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12D46DAA-A078-22FF-86F4-14840AA20F99}"/>
              </a:ext>
            </a:extLst>
          </p:cNvPr>
          <p:cNvCxnSpPr>
            <a:cxnSpLocks/>
            <a:stCxn id="157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9" name="Right Brace 158">
            <a:extLst>
              <a:ext uri="{FF2B5EF4-FFF2-40B4-BE49-F238E27FC236}">
                <a16:creationId xmlns:a16="http://schemas.microsoft.com/office/drawing/2014/main" id="{6E1E95FB-59AD-9BEB-D212-CE61CA8416FD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CCC67F5-89AF-74A4-EC28-B3273A8D07BD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1" name="Right Brace 160">
            <a:extLst>
              <a:ext uri="{FF2B5EF4-FFF2-40B4-BE49-F238E27FC236}">
                <a16:creationId xmlns:a16="http://schemas.microsoft.com/office/drawing/2014/main" id="{8A1966D6-4E70-0DEB-F024-954DE9697EF4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189B25E-F6F5-E9AD-9BD8-F994B518AA74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448D933-DB54-7F1B-22AB-68888974D7B3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6BFC303-DB4C-89A9-4B91-AFD736460EF8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EE4D67C-DE1C-C382-511A-992C1778296A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5B2EE01-E2FE-1111-9B5C-5F0042AF6B4A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2345735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95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606" imgH="608" progId="TCLayout.ActiveDocument.1">
                  <p:embed/>
                </p:oleObj>
              </mc:Choice>
              <mc:Fallback>
                <p:oleObj name="think-cell Slide" r:id="rId5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EF276256-AA4F-DBFC-BDCC-594F5A3F54A5}"/>
              </a:ext>
            </a:extLst>
          </p:cNvPr>
          <p:cNvSpPr/>
          <p:nvPr/>
        </p:nvSpPr>
        <p:spPr bwMode="auto">
          <a:xfrm>
            <a:off x="6731448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2375376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parison of Groups A and B (pre- and post-shock r/WSB commenters) shows only a few noticeable difference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05680F3-31A4-E10D-58E0-53F4E28A25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721523"/>
              </p:ext>
            </p:extLst>
          </p:nvPr>
        </p:nvGraphicFramePr>
        <p:xfrm>
          <a:off x="663575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8F9F7E2-E707-7700-9808-61BCF21CD74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160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F3EF31-D5F7-4614-8295-5B3010371792}" type="datetime'''O''''''c''''''''''''t'''''''' ''''2''''0''''''''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3833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9DC13FE-840E-456A-FF20-D336289463B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52713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BDE061-E77A-4C8F-B4B9-B6318E09DB9E}" type="datetime'''''A''''''''''p''''''''''''r'''' ''''2''''''0''''''''''''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8772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2C0039A-04AC-189A-3AFF-2FCF3741DD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9575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5B5D5E-E16B-4175-AB56-DBCCA0B6B4DC}" type="datetime'O''''''c''t'''''' ''20''2''''''''1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5775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77F9611-BB64-65E1-3970-89DB541880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896105-BC4F-42C9-B8B7-59579DF1FA90}" type="datetime'''''''''''''''''''2.''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1DB31213-AC55-D8AE-82E7-AF8976E461B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535AE8-531F-4C25-8B82-DFF15B50A690}" type="datetime'''''''''''''''2''''''.''''''''''''''''''''''''2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5E222BF-9A0E-5062-B2E0-BA41B84CECF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F9264D-7F4E-4BC1-B412-03DC667B7C68}" type="datetime'''''''''''''''''''''''''2''''''''''.''4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108575" y="4713288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108575" y="4870450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108575" y="5027613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75263" y="4664076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75263" y="4821239"/>
            <a:ext cx="15732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75263" y="497840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ion during the shock with rapid decline post-shock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D1E7CC3F-9EE0-E674-09B0-7CC541694976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397992"/>
              </p:ext>
            </p:extLst>
          </p:nvPr>
        </p:nvGraphicFramePr>
        <p:xfrm>
          <a:off x="5010150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375D48-4C95-493E-3288-1699F6BD7AE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545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3D9690-376B-4252-A41E-CE7845ACE81C}" type="datetime'''''''''''''''''''''''Ju''''l ''''''''2''''0''''2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C3DA9CA-EA1B-61E8-4140-62FAB5280F4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56260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118B2F-F435-4563-9D95-D0165B1336C0}" type="datetime'''''''''''''''O''c''''''''''''''''t'' 2''0''''''''''''''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366A27-105E-C217-624B-EF70595D38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284913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94A10E-D011-4F1B-B327-CF47F493BA4F}" type="datetime'''''''''J''''''''''''an'''''''''''''' ''2''''0''''2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4E1270E-8E13-F519-E44E-B35AEC7D04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99288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DB8C82-1726-4F00-89F9-2A1D922411AA}" type="datetime'''''''A''pr ''''''''''''''''''''''''''2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8DEF39D-E84E-AA47-C0E7-A764F736078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343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26565-FC83-4BB2-A872-A7A255C13480}" type="datetime'''''''''''''''Jul'' 2''''''''0''''''2''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A611228-D42D-059D-7B17-BD13612A8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423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A462CB-E08A-4DFA-98D1-1750FAA1A4DD}" type="datetime'''''''''''''O''''''c''t ''2''0''''21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4932D42-8197-69A5-605A-06B6265F62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832350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2D72EC-5739-4571-9B15-64F41D085D31}" type="datetime'''''''''''''''''''''''0''''''''.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A333F9-F670-D590-2AD2-E65214DBD0A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32350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6B56D7-F138-4FAB-9BC4-4C82EA4F88E3}" type="datetime'''''''''''''''''''''''''''''0.''2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E53475D-95D2-A966-38CB-73528B1F36A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832350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F3E7F5-A35B-48A4-AB8D-1E291484C82C}" type="datetime'''''''''''''''0''''''''''''''''''.''''''4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9A64859-F974-52A3-E52F-589D1205F26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32350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77668-F594-4826-B139-82889AF119B3}" type="datetime'''''''''''''''''''''''''''''''0''''.''''''''''6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A9D4CB0-927C-4DB1-B812-3BFBB564B0F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832350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FE2C12-B153-4FD8-8970-C9C6AB341ADB}" type="datetime'''''''''0''''''''''''''''''''''''''''''.8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2CDB6EC-F69B-0BC5-1348-29034AF6926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832350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A02CF5-11C6-45F7-9A31-EC2D907E1633}" type="datetime'''''''''''''1''''''''''''''''''''''.''''0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CD0C930-CCA8-D7BA-7C73-2A243889E07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32350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608AE2-FE2E-48CE-B9D7-3D88EC5582BD}" type="datetime'''''''''''''''''''''1''''''''''.''''2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B788916-075B-F06A-FFA3-87DEDC8014E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32350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910D7C-D691-4F16-925A-5C0FA6DF4E00}" type="datetime'''''''''''''1''.''''''''4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11C9360-7F73-866A-23BD-382376211B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832350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67067E-3C0E-4AFC-9C2D-8C0FF21FC234}" type="datetime'''''''''''''''''1''''''''''''''''''''.''6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D86B322-3D42-7480-43DF-5509E2AF74E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832350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9EB11B-5D8A-4749-AA69-6EB1D04A98FD}" type="datetime'1.''''8''''''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3E04683-E0D7-9D42-FDAD-EB4FB995B83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832350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40F471-4D00-4CBC-8F6B-E8C0B5FC680E}" type="datetime'''''''''''''''2''''.''''''''''''''0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A59497C-098C-E91F-EAEC-30937227C1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832350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370381-2761-4531-BC5A-BAD13EE24536}" type="datetime'''''''''''''''''''''''''''''''''''''2''''''.''2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4B02762-1104-1E90-DB39-EA43B5451FF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832350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E0F83-F806-465D-88BF-CE9E41DA5AC2}" type="datetime'2''''''''''''''.4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0EF10D2-2B9E-B0EE-4A6E-EA969FC61BE9}"/>
              </a:ext>
            </a:extLst>
          </p:cNvPr>
          <p:cNvSpPr/>
          <p:nvPr/>
        </p:nvSpPr>
        <p:spPr bwMode="auto">
          <a:xfrm>
            <a:off x="5096668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New r/WSB commenters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eemingly flat during the shock with flatter post-shock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C07EBA8-594C-AE8B-2770-838C9702C7AB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5063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24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606" imgH="608" progId="TCLayout.ActiveDocument.1">
                  <p:embed/>
                </p:oleObj>
              </mc:Choice>
              <mc:Fallback>
                <p:oleObj name="think-cell Slide" r:id="rId7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2478087" y="3172666"/>
            <a:ext cx="88900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2150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however, when splitting by engagement metrics, it’s clear there was a more pronounced effect on low engagement Group B comm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29F5BC1-82E8-7D9F-6EB5-6BA1E2B8E6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829902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467" name="Chart 466">
            <a:extLst>
              <a:ext uri="{FF2B5EF4-FFF2-40B4-BE49-F238E27FC236}">
                <a16:creationId xmlns:a16="http://schemas.microsoft.com/office/drawing/2014/main" id="{0B0BA24A-D655-7EB6-5832-C2717B68904A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70481732"/>
              </p:ext>
            </p:extLst>
          </p:nvPr>
        </p:nvGraphicFramePr>
        <p:xfrm>
          <a:off x="650875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975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39813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57338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1213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578100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86100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63378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09600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09600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9600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09600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9600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9330EB-FE68-E667-4630-E2002CE13A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9600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31B64CA-FD8D-47C0-830C-DE982B5F9F36}" type="datetime'''''''''''''''''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14CA4D-62A4-EBD7-F99C-CAB863F5230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9600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663503C-318A-41DB-813A-28C5CA62974D}" type="datetime'''6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Relatively lower increase in post-shock engagement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  <a:endParaRPr lang="en-US" sz="1000" b="1">
              <a:solidFill>
                <a:schemeClr val="accent5"/>
              </a:solidFill>
              <a:ea typeface="Tahoma"/>
              <a:cs typeface="Tahoma"/>
            </a:endParaRP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Substantial increase in post-shock engagement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Pronounced decreased in total comment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More muted decrease of most engaged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4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50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141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730250" y="3806468"/>
            <a:ext cx="1281113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4.515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4.215</a:t>
            </a:r>
          </a:p>
        </p:txBody>
      </p:sp>
      <p:graphicFrame>
        <p:nvGraphicFramePr>
          <p:cNvPr id="461" name="Chart 460">
            <a:extLst>
              <a:ext uri="{FF2B5EF4-FFF2-40B4-BE49-F238E27FC236}">
                <a16:creationId xmlns:a16="http://schemas.microsoft.com/office/drawing/2014/main" id="{B243DF30-136C-9574-5E63-208C44394E5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4007080626"/>
              </p:ext>
            </p:extLst>
          </p:nvPr>
        </p:nvGraphicFramePr>
        <p:xfrm>
          <a:off x="4975225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E7DF401-E641-E838-DC49-63FB6321C58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641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51F74-A6B6-4302-8ACB-342DE9AC63B4}" type="datetime'''''''''''''''J''''u''l'' ''2''''''''''''0''''''''20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EE996B6-4B40-5C8E-2B15-5815D94073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657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695578-E6C6-43B6-837D-310B9B9683FD}" type="datetime'''Se''p'''' 20''''''''''''''''''''''''''''2''''''''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60979EC-692A-2585-67C9-694EECE47B6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88327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601BCE-AD2F-41F9-8F39-5EF8D89C1DD1}" type="datetime'''N''''''''''''''''''ov ''''''''20''''''''''2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05DAF86-D323-2FF0-EE28-BC5505BB525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410325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2C9433-B10F-4F08-8D49-4F7282352DD9}" type="datetime'''J''''''''a''n'''' ''2''''''''0''''21''''''''''''''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680F5B-99CE-5955-06DA-7B5E33AE4E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907213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0463FD-409B-4620-A22D-3E0B6C85560A}" type="datetime'''''''''''M''''''''''''''''a''''''''''r'' 2''02''''''''1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EED6165-4236-BBEC-0AE5-8C3D50FC773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4183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B2190B-D0EB-4ACC-8475-5C6684C27C1D}" type="datetime'''M''''''a''''y'' ''''2''''''0''''''''''2''''''''''''1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CD80F6D-A122-AF59-6258-E63F7ADED50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9660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129D96-2FE8-4F2C-9B11-A249BA59985F}" type="datetime'J''''''u''''l'''' ''''2''''0''''''2''''''''''''''''''''1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7E2F849-2EEE-7C68-E0E3-4F0E71BFBF5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46772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4FFA47-1171-47D8-94EF-A00A62B6A7DE}" type="datetime'''''S''''''e''''''p'' ''''2''''0''''''''2''''''''1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DDCFE89-C4E4-96C2-C818-AB6F1A9D1AB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48225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F359F5A-31B7-4C13-830D-97DEB27E2D03}" type="datetime'''''''''''0''''.''''''0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BED5A1-0386-ACA0-A732-CA59FC36C3F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48225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6F373B-B27E-4621-A5C8-CAC0E8211D6C}" type="datetime'''''''''0''''''''''.''''''''''''''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A98199F-5292-D538-49E0-A33DD7F11E0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48225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9E6CBF-990B-484A-9ECA-029F1E66D1B0}" type="datetime'0''''''''''''.''''''''''''''''''''''''''''''''''''''2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A6CE96E-E4C4-50D8-D044-A1EC5E55313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48225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3C4D9-ABFA-48DE-8E58-BDBF7A2E1CE0}" type="datetime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63F1B40-C05D-3BC8-51D1-17E9DAF28AF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48225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C59FED-B947-4431-936A-4B5893868EB7}" type="datetime'''0.''''''''4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14F8158-E841-8221-3891-EF1C504880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48225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66AF52-7EC9-49BD-88D1-1387CEA977C0}" type="datetime'''0''''''''''''''''''''.5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28B2F6C-B7EE-9D54-1B99-42A609DE739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48225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617CDC-EADA-43D4-AFF5-604D156DADC9}" type="datetime'0''''''''''''''''''''''''''''''''.''''''''''6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18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57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4" name="Speech Bubble: Rectangle with Corners Rounded 463">
            <a:extLst>
              <a:ext uri="{FF2B5EF4-FFF2-40B4-BE49-F238E27FC236}">
                <a16:creationId xmlns:a16="http://schemas.microsoft.com/office/drawing/2014/main" id="{4114600E-C671-12A7-821B-733575AF1C5C}"/>
              </a:ext>
            </a:extLst>
          </p:cNvPr>
          <p:cNvSpPr/>
          <p:nvPr/>
        </p:nvSpPr>
        <p:spPr bwMode="auto">
          <a:xfrm>
            <a:off x="7786513" y="1238249"/>
            <a:ext cx="1133823" cy="428625"/>
          </a:xfrm>
          <a:prstGeom prst="wedgeRoundRectCallout">
            <a:avLst>
              <a:gd name="adj1" fmla="val -36217"/>
              <a:gd name="adj2" fmla="val 80144"/>
              <a:gd name="adj3" fmla="val 16667"/>
            </a:avLst>
          </a:prstGeom>
          <a:noFill/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Level of post-shock engagement is higher for new us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ABDE82E-187D-90FE-3A13-05AE7C8FB03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graphicFrame>
        <p:nvGraphicFramePr>
          <p:cNvPr id="493" name="Chart 492">
            <a:extLst>
              <a:ext uri="{FF2B5EF4-FFF2-40B4-BE49-F238E27FC236}">
                <a16:creationId xmlns:a16="http://schemas.microsoft.com/office/drawing/2014/main" id="{5DA51EBA-2509-572D-3E8E-474DBDC5ED66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906633709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D6E1225C-A6D3-2A4E-F49E-C3843722679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25E08-1FA5-4D93-B2C1-A09673327876}" type="datetime'''''''''''''''''''''J''u''''''''''''''''l'''' ''''2020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D114BFA6-4865-44C2-0811-A3E7C106C53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BEC134-6FB5-4DA2-9994-B4F1D3062628}" type="datetime'''Se''''p'''' ''2''0''''''''20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4FF0AA0F-013C-FA18-371F-4EC271A78D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C0A10-EFC6-461A-8BD5-C0A603FC5D86}" type="datetime'Nov'' ''''''''2''0''''''2''0''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A8FDFD55-5CFF-668D-0BB1-486CFCACA1B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706635-7039-46EA-8FE5-B980F52F2157}" type="datetime'Ja''''''''''''n'''''''' ''''2''''''''0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FDCC3B16-EE60-38E7-8047-B23B424D443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2DEC9-DE76-4312-8985-0BE9037C02F3}" type="datetime'M''''''ar'''''''''' ''''''''''2''021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B61A9A26-ADE5-226D-9D0C-4C9F24D870A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63DCDA-EC6E-46BB-88ED-2043CEDDFD5E}" type="datetime'''''''M''''''''''a''''y ''''2''''''''0''2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3C36BAAE-7A9A-225C-8634-56470F4162A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D3E2ED-01C9-49E8-A541-1A173C77EA87}" type="datetime'''''Ju''l'''' 2''''''''0''''''''''''''''''''''''''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AF3ED3B2-427C-4AE6-5323-746F086EB1D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0690E2-2833-4921-90B9-58F838268670}" type="datetime'S''''''e''p'''''''''' ''''''''''''''''2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E013D436-CBAF-3D15-2B02-CDB59CE9905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79EFE0-F9E9-40C2-A50D-B4184F22A9F6}" type="datetime'''''''''''''''''''''''''''''''''''''''''''''0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377C4-7EA9-28BC-0FF4-584A66A16370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954588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14100D-C11C-4632-A31B-3CCF68B67E6B}" type="datetime'''''''''1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0EF755D3-59F8-2CB7-F811-128D53CE08A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8A7669-2FFF-422C-9EFB-69E47FB9CC35}" type="datetime'''''''''''''2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00580BBF-6E7D-0B85-E24F-1BD0D334CA4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06FC43-96F9-45DD-8A65-FBA19B55B2FE}" type="datetime'''''''''''''''''3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F1391DAB-7AC3-68E2-6873-B25DE8064E3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8E756-57B9-44D2-BC53-40E30AEBB67E}" type="datetime'''''''4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8518C956-EDCF-2BAB-47F6-D1F058FD3FC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DFD493-9A72-4E28-9EC4-FA680E6E2016}" type="datetime'''''''''''''5''''''''''''''''''''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E8AE27C8-A037-C9F2-C99D-8AD410288C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6188BC-8DAC-4438-A87D-3BE4126C06EF}" type="datetime'''''''''''''''''''6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1741B645-FCD5-F8A6-6544-F4262F2402FF}"/>
              </a:ext>
            </a:extLst>
          </p:cNvPr>
          <p:cNvSpPr/>
          <p:nvPr/>
        </p:nvSpPr>
        <p:spPr bwMode="auto">
          <a:xfrm>
            <a:off x="5078413" y="398356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032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2.776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0B103757-36E7-5F91-48F9-54370A80C243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BFE0DDF3-CD7C-A6C9-82AE-D8070854056A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901106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7277757-6401-2D03-2212-27A9DFC46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94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06" imgH="608" progId="TCLayout.ActiveDocument.1">
                  <p:embed/>
                </p:oleObj>
              </mc:Choice>
              <mc:Fallback>
                <p:oleObj name="think-cell Slide" r:id="rId20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277757-6401-2D03-2212-27A9DFC46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" name="Rectangle 361">
            <a:extLst>
              <a:ext uri="{FF2B5EF4-FFF2-40B4-BE49-F238E27FC236}">
                <a16:creationId xmlns:a16="http://schemas.microsoft.com/office/drawing/2014/main" id="{31B27F9D-CA9E-A138-C1DB-E7FF91884D4C}"/>
              </a:ext>
            </a:extLst>
          </p:cNvPr>
          <p:cNvSpPr/>
          <p:nvPr/>
        </p:nvSpPr>
        <p:spPr bwMode="auto">
          <a:xfrm>
            <a:off x="4715803" y="1385095"/>
            <a:ext cx="153059" cy="2900752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950449-9943-0BD1-296B-186B915C0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when new users joined during the shock period, </a:t>
            </a:r>
            <a:r>
              <a:rPr lang="en-US" i="1"/>
              <a:t>they continued to engage following the shock, at significant leve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9C9C8C-D9BB-9603-5AD3-C1A3769CBE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360" name="Chart 359">
            <a:extLst>
              <a:ext uri="{FF2B5EF4-FFF2-40B4-BE49-F238E27FC236}">
                <a16:creationId xmlns:a16="http://schemas.microsoft.com/office/drawing/2014/main" id="{30D6CE77-AF01-037D-A67E-1C0537245F7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647151"/>
              </p:ext>
            </p:extLst>
          </p:nvPr>
        </p:nvGraphicFramePr>
        <p:xfrm>
          <a:off x="733425" y="1182688"/>
          <a:ext cx="8047038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A43034C4-420D-01C1-97ED-7ABEDED95CA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7785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09D701-6584-4DA1-8B92-114201E511F4}" type="datetime'''''''''''J''''u''''l'''''''' 2''''''0''''''''''''''2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D703041E-F584-3E9A-7C31-FD7DDACFD0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227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D52134-02A4-4F20-B587-9018723BE0EA}" type="datetime'''''''''S''''''''e''''p'''''''''''' ''''''''''''20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5F666C37-3504-A72E-E28F-55A0554F16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6225" y="43370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61A841-720E-4813-9038-B230E9C170B0}" type="datetime'''''''''''N''''''''''o''v'''' ''''''''''20''''2''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6B6D8E4D-BE92-B51A-56DB-71C03E32239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2875" y="43370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8945A9-E076-42EE-85B7-6C57C2EC3154}" type="datetime'''''J''''''''''''''''''''''an ''''''''''''''''202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95CED80-AD1A-3A43-96F9-B51BFD17B42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3370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A2DE0-C7AC-40DB-8AB4-23E90FFA53A7}" type="datetime'''''''''''M''''a''''r'''' ''202''''''''1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981DDB68-6348-6DCC-9645-113996BA81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3370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44E087-7190-464F-8C88-65F7ADE3CAA7}" type="datetime'''''M''a''''''''y 2''''''0''''''''2''''''''1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5848110B-47B0-06B2-BE55-CDCA5060308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613D16-1994-40C8-9EAE-C050BA88CF45}" type="datetime'''''J''''''u''''''l'''' ''20''2''''''''1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719F0B67-500D-3707-510C-562205F7D7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3A282-89D1-44D4-91B7-718959B31807}" type="datetime'''''''S''''''''''''''''e''''''p 202''''''''''''''1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4DCFCD6-F0CC-216F-A2DE-36E3B3497B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7688" y="42179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E73977-EEDF-4477-8B1E-2A1153F597C5}" type="datetime'''''0''''''''''''''''%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1A4313F9-8EE9-4418-32C8-EF42AA35872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7688" y="270351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381E67-9783-476E-92CC-D09B2840EA2B}" type="datetime'''''''6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00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09A4E8FD-4C86-18D2-9AAA-C1771AF05D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7838" y="118903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2293A-CBA0-4B70-80B5-5C4E257C3C7E}" type="datetime'''''1''''2''''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BF506DE3-3AE2-6BAF-418C-A873056D08B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7688" y="371316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5E7144-6D62-43E8-9C9B-BBD65AAE6BAE}" type="datetime'''''2''''''''''''''''''''''''''''''''''''''''%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/>
          </a:p>
        </p:txBody>
      </p:sp>
      <p:sp>
        <p:nvSpPr>
          <p:cNvPr id="327" name="Text Placeholder 2">
            <a:extLst>
              <a:ext uri="{FF2B5EF4-FFF2-40B4-BE49-F238E27FC236}">
                <a16:creationId xmlns:a16="http://schemas.microsoft.com/office/drawing/2014/main" id="{112E25BA-E318-100A-DF00-FA5C1DED0B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7688" y="32083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D27AF-C0DA-47BA-AA94-A500F77A3E88}" type="datetime'''''''''''''''''''''''''''4''''''''%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/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0181EBD-A307-CCDF-03F0-7DB36D5BBFC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7688" y="21986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7C532C6-E72B-4B41-8FCB-D2DBFC08FC8E}" type="datetime'''''8''''''''''''''''''''''''''''''''%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/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498F1BC7-89D0-8FB2-4EB1-4948633524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7838" y="169386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E8109C-158E-4301-B541-1E5CC51B4D2D}" type="datetime'''''''''''''''''1''''''''''''''''''''''''''0''''''''''''''%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A6FEE71-FFFB-CA4E-EB28-828F3798AA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95800" y="1195388"/>
            <a:ext cx="466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4A6335-7B3D-4E92-8EED-31C9046652B1}" type="datetime'''1''''''1''.''3''''''''''''''''%'''''''''''''''''''''''''''">
              <a:rPr lang="en-US" altLang="en-US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3%</a:t>
            </a:fld>
            <a:endParaRPr lang="en-US" b="1"/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E556439F-0991-4162-112F-B70BB6EA2266}"/>
              </a:ext>
            </a:extLst>
          </p:cNvPr>
          <p:cNvSpPr/>
          <p:nvPr/>
        </p:nvSpPr>
        <p:spPr bwMode="auto">
          <a:xfrm>
            <a:off x="815974" y="864797"/>
            <a:ext cx="7881943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Proportion of Reddit comments made by users who joined during the shock period over time 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Users that joined during the shock stayed engaged in aggregate, making up &gt;1% of all Reddit comments 6 months after the shock</a:t>
            </a:r>
          </a:p>
        </p:txBody>
      </p: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01832F3F-8D98-E4C6-9D5A-E2601061B30B}"/>
              </a:ext>
            </a:extLst>
          </p:cNvPr>
          <p:cNvCxnSpPr>
            <a:cxnSpLocks/>
          </p:cNvCxnSpPr>
          <p:nvPr/>
        </p:nvCxnSpPr>
        <p:spPr>
          <a:xfrm>
            <a:off x="4962525" y="3837941"/>
            <a:ext cx="3724275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3" name="Rectangle: Rounded Corners 362">
            <a:extLst>
              <a:ext uri="{FF2B5EF4-FFF2-40B4-BE49-F238E27FC236}">
                <a16:creationId xmlns:a16="http://schemas.microsoft.com/office/drawing/2014/main" id="{EF954839-1F68-FFB6-3B06-6B0E2C2BABED}"/>
              </a:ext>
            </a:extLst>
          </p:cNvPr>
          <p:cNvSpPr/>
          <p:nvPr/>
        </p:nvSpPr>
        <p:spPr bwMode="auto">
          <a:xfrm>
            <a:off x="7370189" y="3052208"/>
            <a:ext cx="1226123" cy="737155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400" b="1" kern="1200">
                <a:solidFill>
                  <a:schemeClr val="tx1"/>
                </a:solidFill>
                <a:ea typeface="Tahoma"/>
                <a:cs typeface="Tahoma"/>
              </a:rPr>
              <a:t>2%</a:t>
            </a:r>
          </a:p>
          <a:p>
            <a:pPr algn="ctr"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Mean proportion of comments on Reddit from this group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1DCF08D-6013-C771-6B9A-A70B08D445D4}"/>
              </a:ext>
            </a:extLst>
          </p:cNvPr>
          <p:cNvSpPr/>
          <p:nvPr/>
        </p:nvSpPr>
        <p:spPr bwMode="auto">
          <a:xfrm>
            <a:off x="963636" y="1305559"/>
            <a:ext cx="2166425" cy="36249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Sample of users included: </a:t>
            </a:r>
            <a:r>
              <a:rPr lang="en-US" sz="1000" b="1" i="1" kern="1200">
                <a:solidFill>
                  <a:schemeClr val="tx1"/>
                </a:solidFill>
                <a:ea typeface="Tahoma"/>
                <a:cs typeface="Tahoma"/>
              </a:rPr>
              <a:t>Any users that joined during the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  <a:p>
            <a:pPr rtl="0">
              <a:spcBef>
                <a:spcPts val="300"/>
              </a:spcBef>
            </a:pP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82803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CAF35-5A43-67E0-C219-FAF4B1243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168134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854260-2B2D-F500-3670-0FF52881F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3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854260-2B2D-F500-3670-0FF52881F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8DC0FF3-95E5-BC0C-18DD-B25D23EB1520}"/>
              </a:ext>
            </a:extLst>
          </p:cNvPr>
          <p:cNvSpPr/>
          <p:nvPr/>
        </p:nvSpPr>
        <p:spPr bwMode="auto">
          <a:xfrm>
            <a:off x="2093671" y="1387475"/>
            <a:ext cx="1727200" cy="2124075"/>
          </a:xfrm>
          <a:prstGeom prst="roundRect">
            <a:avLst>
              <a:gd name="adj" fmla="val 7752"/>
            </a:avLst>
          </a:prstGeom>
          <a:solidFill>
            <a:schemeClr val="accent6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F18D3B-A7F4-1CC2-17DC-8ACC51FBF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Data used for the analysis effectively cover the entire post and comment history of Reddit, from Pushshift.io</a:t>
            </a:r>
          </a:p>
        </p:txBody>
      </p:sp>
      <p:pic>
        <p:nvPicPr>
          <p:cNvPr id="26" name="Graphic 25" descr="Database with solid fill">
            <a:extLst>
              <a:ext uri="{FF2B5EF4-FFF2-40B4-BE49-F238E27FC236}">
                <a16:creationId xmlns:a16="http://schemas.microsoft.com/office/drawing/2014/main" id="{5490BA01-4515-451D-BFA5-0156BB379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6260" y="1415962"/>
            <a:ext cx="522838" cy="52283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6B12262-82A7-5B1B-44A2-09F22D94F6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695" t="33458" r="3136" b="31429"/>
          <a:stretch/>
        </p:blipFill>
        <p:spPr>
          <a:xfrm>
            <a:off x="469610" y="902737"/>
            <a:ext cx="922017" cy="3474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17FD8F0-3C7B-6573-148B-FDC1A1F865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1287640"/>
            <a:ext cx="3147060" cy="29764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77B49B2-E1E3-ACF1-89FD-C3AEDF7D8C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94186" y="1969741"/>
            <a:ext cx="2177895" cy="25602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Slide Number Placeholder 4">
            <a:extLst>
              <a:ext uri="{FF2B5EF4-FFF2-40B4-BE49-F238E27FC236}">
                <a16:creationId xmlns:a16="http://schemas.microsoft.com/office/drawing/2014/main" id="{CE4EE070-99C0-5ECD-E568-28A4ABE81957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6</a:t>
            </a:fld>
            <a:endParaRPr lang="en-US" sz="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684290-4AB1-0E4A-1005-5160E44BAD28}"/>
              </a:ext>
            </a:extLst>
          </p:cNvPr>
          <p:cNvSpPr/>
          <p:nvPr/>
        </p:nvSpPr>
        <p:spPr bwMode="auto">
          <a:xfrm>
            <a:off x="1540710" y="902737"/>
            <a:ext cx="2123924" cy="34748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ushshift.io archives all Reddit comment and post histor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1BAA5B-BB7C-1245-EB65-62D35A15E712}"/>
              </a:ext>
            </a:extLst>
          </p:cNvPr>
          <p:cNvSpPr/>
          <p:nvPr/>
        </p:nvSpPr>
        <p:spPr bwMode="auto">
          <a:xfrm>
            <a:off x="891951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Submissions database</a:t>
            </a:r>
          </a:p>
        </p:txBody>
      </p:sp>
      <p:pic>
        <p:nvPicPr>
          <p:cNvPr id="57" name="Graphic 56" descr="Database with solid fill">
            <a:extLst>
              <a:ext uri="{FF2B5EF4-FFF2-40B4-BE49-F238E27FC236}">
                <a16:creationId xmlns:a16="http://schemas.microsoft.com/office/drawing/2014/main" id="{DF058276-D86B-0101-28A2-53A596F5F0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635" y="1415962"/>
            <a:ext cx="522838" cy="522838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57E1FA44-70F9-984F-3E6C-2A5A3901107A}"/>
              </a:ext>
            </a:extLst>
          </p:cNvPr>
          <p:cNvSpPr/>
          <p:nvPr/>
        </p:nvSpPr>
        <p:spPr bwMode="auto">
          <a:xfrm>
            <a:off x="2790326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Comments databa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6D046A9-B446-EDA5-9125-EB1C10BFA662}"/>
              </a:ext>
            </a:extLst>
          </p:cNvPr>
          <p:cNvSpPr/>
          <p:nvPr/>
        </p:nvSpPr>
        <p:spPr bwMode="auto">
          <a:xfrm>
            <a:off x="469610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submission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Titl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Pos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Number of comment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Score (net up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votes and downvotes)</a:t>
            </a: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7B8B48-C18E-BFD2-0338-BFD1091704A0}"/>
              </a:ext>
            </a:extLst>
          </p:cNvPr>
          <p:cNvSpPr/>
          <p:nvPr/>
        </p:nvSpPr>
        <p:spPr bwMode="auto">
          <a:xfrm>
            <a:off x="2244635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comment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ommen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core (net upvotes and downvotes)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EA6BEA0-E82F-4EF8-98FF-D7C77A75A9A7}"/>
              </a:ext>
            </a:extLst>
          </p:cNvPr>
          <p:cNvSpPr/>
          <p:nvPr/>
        </p:nvSpPr>
        <p:spPr bwMode="auto">
          <a:xfrm>
            <a:off x="703121" y="3947074"/>
            <a:ext cx="2935621" cy="582912"/>
          </a:xfrm>
          <a:prstGeom prst="roundRect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Thanks to Data Shared Services, we have easy access to the entire Reddit archive!</a:t>
            </a:r>
            <a:endParaRPr lang="en-US" sz="1000" b="1">
              <a:solidFill>
                <a:schemeClr val="bg1"/>
              </a:solidFill>
              <a:ea typeface="Tahoma"/>
              <a:cs typeface="Tahoma"/>
            </a:endParaRPr>
          </a:p>
        </p:txBody>
      </p:sp>
      <p:sp>
        <p:nvSpPr>
          <p:cNvPr id="64" name="Speech Bubble: Rectangle with Corners Rounded 63">
            <a:extLst>
              <a:ext uri="{FF2B5EF4-FFF2-40B4-BE49-F238E27FC236}">
                <a16:creationId xmlns:a16="http://schemas.microsoft.com/office/drawing/2014/main" id="{BB46C575-AC95-CB76-F5F7-0A73BBD15971}"/>
              </a:ext>
            </a:extLst>
          </p:cNvPr>
          <p:cNvSpPr/>
          <p:nvPr/>
        </p:nvSpPr>
        <p:spPr bwMode="auto">
          <a:xfrm>
            <a:off x="2677704" y="3424217"/>
            <a:ext cx="1294131" cy="463649"/>
          </a:xfrm>
          <a:prstGeom prst="wedgeRoundRectCallout">
            <a:avLst>
              <a:gd name="adj1" fmla="val -25940"/>
              <a:gd name="adj2" fmla="val -64420"/>
              <a:gd name="adj3" fmla="val 16667"/>
            </a:avLst>
          </a:prstGeom>
          <a:solidFill>
            <a:schemeClr val="bg1"/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Main dataset used for analysi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CA9C32-0585-B177-A046-2FF62F8C722E}"/>
              </a:ext>
            </a:extLst>
          </p:cNvPr>
          <p:cNvSpPr/>
          <p:nvPr/>
        </p:nvSpPr>
        <p:spPr bwMode="auto">
          <a:xfrm>
            <a:off x="4343399" y="955651"/>
            <a:ext cx="3147059" cy="29457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In terms of credibility, 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Pushshift</a:t>
            </a: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 has been used for numerous academic publications across disciplines</a:t>
            </a:r>
          </a:p>
        </p:txBody>
      </p:sp>
      <p:sp>
        <p:nvSpPr>
          <p:cNvPr id="68" name="Footer Placeholder 3">
            <a:extLst>
              <a:ext uri="{FF2B5EF4-FFF2-40B4-BE49-F238E27FC236}">
                <a16:creationId xmlns:a16="http://schemas.microsoft.com/office/drawing/2014/main" id="{521A3A5B-9D62-DA9D-3BCA-9F651088FE6B}"/>
              </a:ext>
            </a:extLst>
          </p:cNvPr>
          <p:cNvSpPr txBox="1">
            <a:spLocks/>
          </p:cNvSpPr>
          <p:nvPr/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e </a:t>
            </a:r>
            <a:r>
              <a:rPr lang="en-US" sz="800">
                <a:hlinkClick r:id="rId11"/>
              </a:rPr>
              <a:t>Pushshift.io</a:t>
            </a:r>
            <a:r>
              <a:rPr lang="en-US" sz="800"/>
              <a:t> and the </a:t>
            </a:r>
            <a:r>
              <a:rPr lang="en-US" sz="800" err="1">
                <a:hlinkClick r:id="rId12"/>
              </a:rPr>
              <a:t>Pushshift</a:t>
            </a:r>
            <a:r>
              <a:rPr lang="en-US" sz="800">
                <a:hlinkClick r:id="rId12"/>
              </a:rPr>
              <a:t> Reddit Dataset</a:t>
            </a:r>
            <a:r>
              <a:rPr lang="en-US" sz="800"/>
              <a:t> for detail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6C17-7A9A-2821-889C-FF3D8F240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B26464-4B37-40DF-8E5B-9D102111D51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39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54A32D-3BB9-F7A2-3401-1F9B494D9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9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4A32D-3BB9-F7A2-3401-1F9B494D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7" name="Rectangle 1046">
            <a:extLst>
              <a:ext uri="{FF2B5EF4-FFF2-40B4-BE49-F238E27FC236}">
                <a16:creationId xmlns:a16="http://schemas.microsoft.com/office/drawing/2014/main" id="{B9FDA0A6-03D3-9609-175B-2F1F6065C232}"/>
              </a:ext>
            </a:extLst>
          </p:cNvPr>
          <p:cNvSpPr/>
          <p:nvPr/>
        </p:nvSpPr>
        <p:spPr bwMode="auto">
          <a:xfrm>
            <a:off x="6883400" y="1302714"/>
            <a:ext cx="1543050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CE46E177-B402-4336-BC43-F60AD4C960A9}"/>
              </a:ext>
            </a:extLst>
          </p:cNvPr>
          <p:cNvSpPr/>
          <p:nvPr/>
        </p:nvSpPr>
        <p:spPr bwMode="auto">
          <a:xfrm>
            <a:off x="5292725" y="1302714"/>
            <a:ext cx="154463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F744F1D0-FC91-A024-6B39-806549CE75B7}"/>
              </a:ext>
            </a:extLst>
          </p:cNvPr>
          <p:cNvSpPr/>
          <p:nvPr/>
        </p:nvSpPr>
        <p:spPr bwMode="auto">
          <a:xfrm>
            <a:off x="6831013" y="1302714"/>
            <a:ext cx="55563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7A6B82-26BC-FC92-D581-DD3DC89FF3F2}"/>
              </a:ext>
            </a:extLst>
          </p:cNvPr>
          <p:cNvSpPr/>
          <p:nvPr/>
        </p:nvSpPr>
        <p:spPr bwMode="auto">
          <a:xfrm>
            <a:off x="2612230" y="1302714"/>
            <a:ext cx="1478756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C3BD551-FD08-A57E-9716-812F23271801}"/>
              </a:ext>
            </a:extLst>
          </p:cNvPr>
          <p:cNvSpPr/>
          <p:nvPr/>
        </p:nvSpPr>
        <p:spPr bwMode="auto">
          <a:xfrm>
            <a:off x="1063625" y="1302714"/>
            <a:ext cx="150256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BFDA38-D7C1-0990-47FE-CB0A0015CBC5}"/>
              </a:ext>
            </a:extLst>
          </p:cNvPr>
          <p:cNvSpPr/>
          <p:nvPr/>
        </p:nvSpPr>
        <p:spPr bwMode="auto">
          <a:xfrm>
            <a:off x="2539205" y="1302714"/>
            <a:ext cx="76202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2F6B00-DD4B-5C04-5DBD-D994D75D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To examine changes to user behavior over time, we examine three core periods, pre-shock, shock, and post-shock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38DBDF-DC82-D15B-7D4B-C0CAF6CA136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470547"/>
              </p:ext>
            </p:extLst>
          </p:nvPr>
        </p:nvGraphicFramePr>
        <p:xfrm>
          <a:off x="5002213" y="1258888"/>
          <a:ext cx="37782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730A92A5-5D9A-F176-74C2-F33E14C5975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08563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DEB185-D104-4F6D-9FDA-9D07FCAD5980}" type="datetime'J''''''u''''''''''''''''l'''''' ''''20''''''''''''''''2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3B5E95FF-6506-DB3C-8334-2E25429ECAF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324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DF3C3D-59D6-497F-9233-DC34D3C83B33}" type="datetime'''''S''''''''''''''''''''''''e''''''''p 2''0''''''2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775" name="Text Placeholder 2">
            <a:extLst>
              <a:ext uri="{FF2B5EF4-FFF2-40B4-BE49-F238E27FC236}">
                <a16:creationId xmlns:a16="http://schemas.microsoft.com/office/drawing/2014/main" id="{3FA179B7-75F4-50C3-B630-182B232304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4996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F5F6C-C01F-4F9A-96D7-BD5F1B9FD5C2}" type="datetime'''No''''''''''v'''''' ''''''''2''''''0''''2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E18DDF94-9385-0CB3-BFD9-5258FAD0F8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565900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D901D4-318A-4453-8D93-2E3878BB4DD2}" type="datetime'''''J''a''''''n'''''' 2''''''''''''''''''02''1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858" name="Text Placeholder 2">
            <a:extLst>
              <a:ext uri="{FF2B5EF4-FFF2-40B4-BE49-F238E27FC236}">
                <a16:creationId xmlns:a16="http://schemas.microsoft.com/office/drawing/2014/main" id="{A9DAFD58-F2D3-36EF-CB38-D097539513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643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6A2822-C431-4E7A-8343-090F38B87076}" type="datetime'''''''''''M''''''ar'''''''''''' 2''''''''0''2''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860" name="Text Placeholder 2">
            <a:extLst>
              <a:ext uri="{FF2B5EF4-FFF2-40B4-BE49-F238E27FC236}">
                <a16:creationId xmlns:a16="http://schemas.microsoft.com/office/drawing/2014/main" id="{02ECAB8D-6703-E50C-5743-A89FEB58FDB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80313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BC6702-C2B5-4948-A0D9-B3E82E80E93C}" type="datetime'''''M''''''''''''''''a''''y ''''''''''2''''021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862" name="Text Placeholder 2">
            <a:extLst>
              <a:ext uri="{FF2B5EF4-FFF2-40B4-BE49-F238E27FC236}">
                <a16:creationId xmlns:a16="http://schemas.microsoft.com/office/drawing/2014/main" id="{4AFC712A-24E6-CCFC-4883-B42EEA75E8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978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419325-AA4F-43DB-A704-70C1A08A9B32}" type="datetime'''Ju''''''''l'' ''''''''''''''2''''''''0''''2''''1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02" name="Text Placeholder 2">
            <a:extLst>
              <a:ext uri="{FF2B5EF4-FFF2-40B4-BE49-F238E27FC236}">
                <a16:creationId xmlns:a16="http://schemas.microsoft.com/office/drawing/2014/main" id="{6A252C0C-69D0-7778-ED71-5A9E7DD7F5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621713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A629D0-ACDB-4DB2-93D1-D990E715D4DB}" type="datetime'''''''''S''''''''''''''e''''p'' ''''''2''0''''''''''''2''1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75E8FC91-7C78-4034-8B89-7C49F65733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2825" y="3916363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BD6123-BA54-416F-A32A-59B77C12E1CA}" type="datetime'''''''''0''''''''M''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M</a:t>
            </a:fld>
            <a:endParaRPr lang="en-US" sz="1000"/>
          </a:p>
        </p:txBody>
      </p:sp>
      <p:sp>
        <p:nvSpPr>
          <p:cNvPr id="946" name="Text Placeholder 2">
            <a:extLst>
              <a:ext uri="{FF2B5EF4-FFF2-40B4-BE49-F238E27FC236}">
                <a16:creationId xmlns:a16="http://schemas.microsoft.com/office/drawing/2014/main" id="{187141B9-833A-FA50-97C1-8C2B867EF4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22825" y="303212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9074D-6195-4FCA-95B8-55D0D6BE394A}" type="datetime'''''''''''''''''''''''''2M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M</a:t>
            </a:fld>
            <a:endParaRPr lang="en-US" sz="1000"/>
          </a:p>
        </p:txBody>
      </p:sp>
      <p:sp>
        <p:nvSpPr>
          <p:cNvPr id="947" name="Text Placeholder 2">
            <a:extLst>
              <a:ext uri="{FF2B5EF4-FFF2-40B4-BE49-F238E27FC236}">
                <a16:creationId xmlns:a16="http://schemas.microsoft.com/office/drawing/2014/main" id="{72937C68-A7E4-914E-6E17-E5D16C93D8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22825" y="214947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B71593-054E-4487-B9DB-9FD6E6DBA21D}" type="datetime'''''''''''4M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M</a:t>
            </a:fld>
            <a:endParaRPr lang="en-US" sz="1000"/>
          </a:p>
        </p:txBody>
      </p:sp>
      <p:sp>
        <p:nvSpPr>
          <p:cNvPr id="948" name="Text Placeholder 2">
            <a:extLst>
              <a:ext uri="{FF2B5EF4-FFF2-40B4-BE49-F238E27FC236}">
                <a16:creationId xmlns:a16="http://schemas.microsoft.com/office/drawing/2014/main" id="{11C2B22E-9FA5-9DF5-6FE7-04F454D2104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22825" y="1265238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155F5F-4310-4192-9577-375BBEB2F969}" type="datetime'6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M</a:t>
            </a:fld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9A1C33-27E0-EE46-17B2-5C349C81304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47815898"/>
              </p:ext>
            </p:extLst>
          </p:nvPr>
        </p:nvGraphicFramePr>
        <p:xfrm>
          <a:off x="776288" y="1258888"/>
          <a:ext cx="3659187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952" name="Text Placeholder 2">
            <a:extLst>
              <a:ext uri="{FF2B5EF4-FFF2-40B4-BE49-F238E27FC236}">
                <a16:creationId xmlns:a16="http://schemas.microsoft.com/office/drawing/2014/main" id="{C53FA1BD-E855-A8CC-9D4E-4B888F96699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26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E827E9-3C7B-4B43-A78F-69BAED08E046}" type="datetime'''''''''J''u''l'' 2''''''''''''''0''2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954" name="Text Placeholder 2">
            <a:extLst>
              <a:ext uri="{FF2B5EF4-FFF2-40B4-BE49-F238E27FC236}">
                <a16:creationId xmlns:a16="http://schemas.microsoft.com/office/drawing/2014/main" id="{E5567D3B-45DF-488C-AAB7-343BA9E6EF8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906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49AE39-C3CB-46B8-9BEB-DCCC5A2D1F1F}" type="datetime'''''''Se''''''''''''''p ''''''''''''20''''''''''''2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951" name="Text Placeholder 2">
            <a:extLst>
              <a:ext uri="{FF2B5EF4-FFF2-40B4-BE49-F238E27FC236}">
                <a16:creationId xmlns:a16="http://schemas.microsoft.com/office/drawing/2014/main" id="{4C694024-4803-183D-15AC-B852D9C055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8911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7EC5E4-DF4F-4CCD-B4CF-CFF68F2D3B17}" type="datetime'''N''''''''o''''''''v'' 2''''''''0''''2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957" name="Text Placeholder 2">
            <a:extLst>
              <a:ext uri="{FF2B5EF4-FFF2-40B4-BE49-F238E27FC236}">
                <a16:creationId xmlns:a16="http://schemas.microsoft.com/office/drawing/2014/main" id="{DDDE6D43-BC8A-2EB0-EBBC-FF88310A3E7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7588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3F1070-F50E-447B-A7A1-DE215A6BE844}" type="datetime'''''''''''''''''J''''''''''a''''n'' 2''''''''''02''''1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59" name="Text Placeholder 2">
            <a:extLst>
              <a:ext uri="{FF2B5EF4-FFF2-40B4-BE49-F238E27FC236}">
                <a16:creationId xmlns:a16="http://schemas.microsoft.com/office/drawing/2014/main" id="{E0F7B89E-7765-EF8D-1E6E-776E3F44FBF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717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D0DE376-6AF6-4222-A5BA-973DFB5E25CE}" type="datetime'''''''''''''''M''''''''a''''r'' ''''''''20''''''2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961" name="Text Placeholder 2">
            <a:extLst>
              <a:ext uri="{FF2B5EF4-FFF2-40B4-BE49-F238E27FC236}">
                <a16:creationId xmlns:a16="http://schemas.microsoft.com/office/drawing/2014/main" id="{A33AF9BD-AA09-26E6-F50F-7A47A97A5C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70250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AEC6F9-4F14-4468-970A-074F279D5198}" type="datetime'''M''''''a''''y ''''''''''2''0''''''2''''''''''''''''1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963" name="Text Placeholder 2">
            <a:extLst>
              <a:ext uri="{FF2B5EF4-FFF2-40B4-BE49-F238E27FC236}">
                <a16:creationId xmlns:a16="http://schemas.microsoft.com/office/drawing/2014/main" id="{699AC585-BAD9-AADE-1F8C-DDACEC39B4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8725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229057-518B-4C4C-BC33-CE79DC4D0E44}" type="datetime'''''''''''''J''''u''l'''' ''2''''''''''0''''''''''''''2''''1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23" name="Text Placeholder 2">
            <a:extLst>
              <a:ext uri="{FF2B5EF4-FFF2-40B4-BE49-F238E27FC236}">
                <a16:creationId xmlns:a16="http://schemas.microsoft.com/office/drawing/2014/main" id="{5A6A8E01-2B77-6CA7-52A3-281368AD9A4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6725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A2D155-4A29-44BC-8628-64ED412A25AA}" type="datetime'S''e''''''''''''''''''''''''''p'''' ''2''''0''2''''''''''''1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76" name="Text Placeholder 2">
            <a:extLst>
              <a:ext uri="{FF2B5EF4-FFF2-40B4-BE49-F238E27FC236}">
                <a16:creationId xmlns:a16="http://schemas.microsoft.com/office/drawing/2014/main" id="{BE1CC6A6-B39C-03BF-891B-3C5AE48B9F0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7050" y="39163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D51602-3A22-4831-8563-F3199A077AF9}" type="datetime'4''''''0''''''''''''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M</a:t>
            </a:fld>
            <a:endParaRPr lang="en-US" sz="1000"/>
          </a:p>
        </p:txBody>
      </p:sp>
      <p:sp>
        <p:nvSpPr>
          <p:cNvPr id="977" name="Text Placeholder 2">
            <a:extLst>
              <a:ext uri="{FF2B5EF4-FFF2-40B4-BE49-F238E27FC236}">
                <a16:creationId xmlns:a16="http://schemas.microsoft.com/office/drawing/2014/main" id="{95C1ACA9-C891-4DB5-8556-AE970B01B6E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050" y="33861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B04C36-F563-4151-8EAA-E8CA21D166BD}" type="datetime'''''4''''''''''''''''2''''''''M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M</a:t>
            </a:fld>
            <a:endParaRPr lang="en-US" sz="1000"/>
          </a:p>
        </p:txBody>
      </p:sp>
      <p:sp>
        <p:nvSpPr>
          <p:cNvPr id="978" name="Text Placeholder 2">
            <a:extLst>
              <a:ext uri="{FF2B5EF4-FFF2-40B4-BE49-F238E27FC236}">
                <a16:creationId xmlns:a16="http://schemas.microsoft.com/office/drawing/2014/main" id="{A044E7EB-0BB7-98E4-34BB-48B537D43A9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7050" y="285591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65A40-B582-422C-94F8-2FD4B6813654}" type="datetime'''4''''''''4''''''''M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M</a:t>
            </a:fld>
            <a:endParaRPr lang="en-US" sz="1000"/>
          </a:p>
        </p:txBody>
      </p:sp>
      <p:sp>
        <p:nvSpPr>
          <p:cNvPr id="979" name="Text Placeholder 2">
            <a:extLst>
              <a:ext uri="{FF2B5EF4-FFF2-40B4-BE49-F238E27FC236}">
                <a16:creationId xmlns:a16="http://schemas.microsoft.com/office/drawing/2014/main" id="{9D0DD1A6-06D2-C2F9-18D8-810DED4D5DD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7050" y="232568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7AF51D0-E209-495C-AB00-2333BDF70F29}" type="datetime'''''''''''''''4''''''''6''''''''''M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M</a:t>
            </a:fld>
            <a:endParaRPr lang="en-US" sz="1000"/>
          </a:p>
        </p:txBody>
      </p:sp>
      <p:sp>
        <p:nvSpPr>
          <p:cNvPr id="980" name="Text Placeholder 2">
            <a:extLst>
              <a:ext uri="{FF2B5EF4-FFF2-40B4-BE49-F238E27FC236}">
                <a16:creationId xmlns:a16="http://schemas.microsoft.com/office/drawing/2014/main" id="{0BF54699-69BD-CAB3-7453-BEFF6B78D1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7050" y="17954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C0E7DD-833E-419B-8FDC-E6EFCF8C8FF5}" type="datetime'''4''''''''''''''''''''''''''''''''''8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M</a:t>
            </a:fld>
            <a:endParaRPr lang="en-US" sz="1000"/>
          </a:p>
        </p:txBody>
      </p:sp>
      <p:sp>
        <p:nvSpPr>
          <p:cNvPr id="981" name="Text Placeholder 2">
            <a:extLst>
              <a:ext uri="{FF2B5EF4-FFF2-40B4-BE49-F238E27FC236}">
                <a16:creationId xmlns:a16="http://schemas.microsoft.com/office/drawing/2014/main" id="{2272588D-4C22-B004-2BF8-F2FEC97C85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7050" y="12652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670CEA-25AB-4B24-8578-80317711DA26}" type="datetime'''5''''''''''''''0''''''''M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M</a:t>
            </a:fld>
            <a:endParaRPr lang="en-US" sz="100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53AA468-2B44-842A-4002-9736367550A1}"/>
              </a:ext>
            </a:extLst>
          </p:cNvPr>
          <p:cNvCxnSpPr>
            <a:cxnSpLocks/>
          </p:cNvCxnSpPr>
          <p:nvPr/>
        </p:nvCxnSpPr>
        <p:spPr>
          <a:xfrm>
            <a:off x="2700105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6FDDA46A-6FFD-43DD-5F53-57410529E0A8}"/>
              </a:ext>
            </a:extLst>
          </p:cNvPr>
          <p:cNvSpPr/>
          <p:nvPr/>
        </p:nvSpPr>
        <p:spPr bwMode="auto">
          <a:xfrm>
            <a:off x="2646123" y="1351037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64D5A8-5019-D3EA-FB4A-E32FE125ADDB}"/>
              </a:ext>
            </a:extLst>
          </p:cNvPr>
          <p:cNvCxnSpPr>
            <a:cxnSpLocks/>
          </p:cNvCxnSpPr>
          <p:nvPr/>
        </p:nvCxnSpPr>
        <p:spPr>
          <a:xfrm>
            <a:off x="1163406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5967C0C-3362-C1EE-2BA8-2E5C2D6A31D5}"/>
              </a:ext>
            </a:extLst>
          </p:cNvPr>
          <p:cNvSpPr/>
          <p:nvPr/>
        </p:nvSpPr>
        <p:spPr bwMode="auto">
          <a:xfrm>
            <a:off x="1172765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cxnSp>
        <p:nvCxnSpPr>
          <p:cNvPr id="906" name="Straight Arrow Connector 905">
            <a:extLst>
              <a:ext uri="{FF2B5EF4-FFF2-40B4-BE49-F238E27FC236}">
                <a16:creationId xmlns:a16="http://schemas.microsoft.com/office/drawing/2014/main" id="{9F7A873C-85B1-531F-039E-59004B4D49C0}"/>
              </a:ext>
            </a:extLst>
          </p:cNvPr>
          <p:cNvCxnSpPr>
            <a:cxnSpLocks/>
          </p:cNvCxnSpPr>
          <p:nvPr/>
        </p:nvCxnSpPr>
        <p:spPr>
          <a:xfrm>
            <a:off x="7003422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7" name="Rectangle 906">
            <a:extLst>
              <a:ext uri="{FF2B5EF4-FFF2-40B4-BE49-F238E27FC236}">
                <a16:creationId xmlns:a16="http://schemas.microsoft.com/office/drawing/2014/main" id="{3B7235C6-0E6D-78A7-DEEE-62BBD88B4CE9}"/>
              </a:ext>
            </a:extLst>
          </p:cNvPr>
          <p:cNvSpPr/>
          <p:nvPr/>
        </p:nvSpPr>
        <p:spPr bwMode="auto">
          <a:xfrm>
            <a:off x="6949440" y="1351033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908" name="Straight Arrow Connector 907">
            <a:extLst>
              <a:ext uri="{FF2B5EF4-FFF2-40B4-BE49-F238E27FC236}">
                <a16:creationId xmlns:a16="http://schemas.microsoft.com/office/drawing/2014/main" id="{E9B40FF4-16AA-EB5E-33CA-5678FF9ACA7D}"/>
              </a:ext>
            </a:extLst>
          </p:cNvPr>
          <p:cNvCxnSpPr>
            <a:cxnSpLocks/>
          </p:cNvCxnSpPr>
          <p:nvPr/>
        </p:nvCxnSpPr>
        <p:spPr>
          <a:xfrm>
            <a:off x="5413541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9" name="Rectangle 908">
            <a:extLst>
              <a:ext uri="{FF2B5EF4-FFF2-40B4-BE49-F238E27FC236}">
                <a16:creationId xmlns:a16="http://schemas.microsoft.com/office/drawing/2014/main" id="{B423EC1A-A7FA-529F-E1E9-DE738EDB3E60}"/>
              </a:ext>
            </a:extLst>
          </p:cNvPr>
          <p:cNvSpPr/>
          <p:nvPr/>
        </p:nvSpPr>
        <p:spPr bwMode="auto">
          <a:xfrm>
            <a:off x="5422900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0D593D9-51F8-4CA9-86EF-D100A4BD4CC2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7</a:t>
            </a:fld>
            <a:endParaRPr lang="en-US" sz="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4C6B29-09AD-42AB-303C-E425FEDCC693}"/>
              </a:ext>
            </a:extLst>
          </p:cNvPr>
          <p:cNvSpPr/>
          <p:nvPr/>
        </p:nvSpPr>
        <p:spPr bwMode="auto">
          <a:xfrm>
            <a:off x="862821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eddit comments over sample period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pike of comments during the shocked perio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E0F352-7694-0844-ED8D-607B512AE2E8}"/>
              </a:ext>
            </a:extLst>
          </p:cNvPr>
          <p:cNvSpPr/>
          <p:nvPr/>
        </p:nvSpPr>
        <p:spPr bwMode="auto">
          <a:xfrm>
            <a:off x="5008563" y="4662660"/>
            <a:ext cx="182880" cy="182880"/>
          </a:xfrm>
          <a:prstGeom prst="rect">
            <a:avLst/>
          </a:prstGeom>
          <a:solidFill>
            <a:srgbClr val="FFCC99"/>
          </a:solidFill>
          <a:ln w="6350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B9B350-983E-7500-6DE3-B70BFEB9808A}"/>
              </a:ext>
            </a:extLst>
          </p:cNvPr>
          <p:cNvSpPr/>
          <p:nvPr/>
        </p:nvSpPr>
        <p:spPr bwMode="auto">
          <a:xfrm>
            <a:off x="5242343" y="4662660"/>
            <a:ext cx="1091781" cy="18288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b="1" kern="1200">
                <a:solidFill>
                  <a:schemeClr val="tx1"/>
                </a:solidFill>
                <a:ea typeface="Tahoma"/>
                <a:cs typeface="Tahoma"/>
              </a:rPr>
              <a:t>Shock perio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BBC816-C9E5-A911-5039-D74BA57B8814}"/>
              </a:ext>
            </a:extLst>
          </p:cNvPr>
          <p:cNvSpPr/>
          <p:nvPr/>
        </p:nvSpPr>
        <p:spPr bwMode="auto">
          <a:xfrm>
            <a:off x="5084763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comments over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jor spike during the shocked peri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CB3765-2B20-E6E1-DAD2-B480A5640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803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gression results confirm our initial findings from the plot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219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51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pecifically, less engaged users complemented their engagement on r/</a:t>
            </a:r>
            <a:r>
              <a:rPr lang="en-US" err="1"/>
              <a:t>wallstreetbets</a:t>
            </a:r>
            <a:r>
              <a:rPr lang="en-US"/>
              <a:t> with engagement on other subreddits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126168" y="3313976"/>
            <a:ext cx="2674432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60719" y="2786017"/>
            <a:ext cx="2138289" cy="662554"/>
          </a:xfrm>
          <a:prstGeom prst="wedgeRoundRectCallout">
            <a:avLst>
              <a:gd name="adj1" fmla="val -98273"/>
              <a:gd name="adj2" fmla="val 34103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Complemente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d engagement on r/</a:t>
            </a:r>
            <a:r>
              <a:rPr lang="en-US" sz="10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 with engagement on other subreddi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8805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E82D53-3D1C-CCB6-F16D-6C65794AF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606" imgH="608" progId="TCLayout.ActiveDocument.1">
                  <p:embed/>
                </p:oleObj>
              </mc:Choice>
              <mc:Fallback>
                <p:oleObj name="think-cell Slide" r:id="rId4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82D53-3D1C-CCB6-F16D-6C65794AF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9CCE3-0A90-A95A-1478-79432A844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unity size in a social network is mainly tied to the extensive margin of value creation; Engagement is often triggered by interest wa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55A25C-CEAD-A7CE-7EF1-2BA88E30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1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Johannes </a:t>
            </a:r>
            <a:r>
              <a:rPr lang="en-US" sz="700" dirty="0" err="1">
                <a:solidFill>
                  <a:srgbClr val="3D505A"/>
                </a:solidFill>
                <a:latin typeface="Arial"/>
              </a:rPr>
              <a:t>Loh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and Tobias </a:t>
            </a:r>
            <a:r>
              <a:rPr lang="en-US" sz="700" dirty="0" err="1">
                <a:solidFill>
                  <a:srgbClr val="3D505A"/>
                </a:solidFill>
                <a:latin typeface="+mj-lt"/>
              </a:rPr>
              <a:t>Kretschmer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, “Online communities on competing platforms: Evidence </a:t>
            </a:r>
            <a:r>
              <a:rPr lang="en-US" sz="700" dirty="0">
                <a:latin typeface="+mj-lt"/>
                <a:ea typeface="Tahoma"/>
                <a:cs typeface="Tahoma"/>
              </a:rPr>
              <a:t>from game wikis”, 2022</a:t>
            </a:r>
            <a:br>
              <a:rPr lang="en-US" sz="700" dirty="0">
                <a:latin typeface="+mj-lt"/>
                <a:ea typeface="Tahoma"/>
                <a:cs typeface="Tahoma"/>
              </a:rPr>
            </a:br>
            <a:r>
              <a:rPr lang="en-US" sz="700" baseline="30000" dirty="0">
                <a:ea typeface="Tahoma"/>
                <a:cs typeface="Tahoma"/>
              </a:rPr>
              <a:t>2</a:t>
            </a:r>
            <a:r>
              <a:rPr lang="en-US" sz="700" dirty="0">
                <a:latin typeface="+mj-lt"/>
                <a:ea typeface="Tahoma"/>
                <a:cs typeface="Tahoma"/>
              </a:rPr>
              <a:t> Cody </a:t>
            </a:r>
            <a:r>
              <a:rPr lang="en-US" sz="700" dirty="0" err="1">
                <a:latin typeface="+mj-lt"/>
                <a:ea typeface="Tahoma"/>
                <a:cs typeface="Tahoma"/>
              </a:rPr>
              <a:t>Buntain</a:t>
            </a:r>
            <a:r>
              <a:rPr lang="en-US" sz="700" dirty="0">
                <a:latin typeface="+mj-lt"/>
                <a:ea typeface="Tahoma"/>
                <a:cs typeface="Tahoma"/>
              </a:rPr>
              <a:t> and Jennifer </a:t>
            </a:r>
            <a:r>
              <a:rPr lang="en-US" sz="700" dirty="0" err="1">
                <a:latin typeface="+mj-lt"/>
                <a:ea typeface="Tahoma"/>
                <a:cs typeface="Tahoma"/>
              </a:rPr>
              <a:t>Goldbeck</a:t>
            </a:r>
            <a:r>
              <a:rPr lang="en-US" sz="700" dirty="0">
                <a:latin typeface="+mj-lt"/>
                <a:ea typeface="Tahoma"/>
                <a:cs typeface="Tahoma"/>
              </a:rPr>
              <a:t>, “Identifying Social Roles in reddit Using Network Structure”, 201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8F352-A253-C39B-5BE3-52CC4D1D0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2</a:t>
            </a:fld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A6B6F610-1459-0462-7C49-F60B570DF286}"/>
              </a:ext>
            </a:extLst>
          </p:cNvPr>
          <p:cNvSpPr/>
          <p:nvPr/>
        </p:nvSpPr>
        <p:spPr bwMode="auto">
          <a:xfrm>
            <a:off x="5048164" y="1076419"/>
            <a:ext cx="1754971" cy="19603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en-US" sz="800" b="1" kern="1200" dirty="0">
              <a:solidFill>
                <a:schemeClr val="tx1"/>
              </a:solidFill>
              <a:ea typeface="Tahoma"/>
              <a:cs typeface="Tahoma"/>
            </a:endParaRP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5773EE83-19BE-B2B4-B0EB-8DEB1446F3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515166"/>
              </p:ext>
            </p:extLst>
          </p:nvPr>
        </p:nvGraphicFramePr>
        <p:xfrm>
          <a:off x="5126667" y="1229174"/>
          <a:ext cx="3270441" cy="1049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5957EA8-F9EC-40A3-D455-FF373217319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81125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44D1E-17D0-459A-93E3-DF69DDBFD656}" type="datetime'''2''''''''''''''''''''''''''''''''''0''''16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FE90634-E5BA-AA25-108B-7E61155CE84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23808" y="2122506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8B746C-31A3-4BFA-9D03-ED35BBFE496D}" type="datetime'''0''''''''''''''''''''''''''''''''''''''''''''''%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FF866E4-FF58-477E-54B4-1ACC57C6E3E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40143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D4035-2B12-4690-B7DF-FE2B1E160BE1}" type="datetime'''''''''''''''''''''''''''''2''0''''1''''''''''''''''1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8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1E1663C-B03F-4FE6-FB1F-7BD9C399BE4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24573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B0A661-574D-4042-B217-9BE4D1A40EAF}" type="datetime'''''''''''''''2''0''''1''''''''''''''''3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8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FFF45729-7E2C-5F6C-2E7B-48A263AFC6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2358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49B49F-074A-4103-BEDB-EC4F0E77071A}" type="datetime'''''''''''''''''2''0''''''''''''''1''''2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8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E768D8A9-C466-5E27-1C7F-44A684A605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73697" y="22586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08573-501C-4E3B-84F7-9DC2693B3F5A}" type="datetime'''''2''0''''1''''8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CB05592-246F-9C26-79F1-1ACE8A6E20E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56741" y="22757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1232D9-DBFE-493D-8272-138C4C845FEA}" type="datetime'''''''''''''''''''''''''2''''0''''''''''1''''''''''4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8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11C9F1CB-FBFA-86EC-EE07-9E4188DEBC8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97055" y="2269909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CCB08-98DB-4588-BE0D-064409769CC2}" type="datetime'''''''''''''2''0''''''''''''''''''''''1''''5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8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94ADE5F-2E02-E429-04F5-9E499936B95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681485" y="2270842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22651-0016-4B8D-A9C7-30765158DFCA}" type="datetime'''''''''''''''''''2''017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1A2FADD-D967-27F7-2D59-B4EFA0C107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68681" y="1894411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5E2493-AC2F-48AB-A97F-77E256DD4309}" type="datetime'''''''''2''''''''''5%''''''''''''''''''''''''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80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9E539ADA-7832-E452-9292-CF38C0FC1A8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68681" y="1679592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C86B2F-043A-42E4-AF03-C63909FEFD4F}" type="datetime'''''''''''''''''''''''''''''''''''5''''0''''''''%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8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F5EFBD0D-34CA-0537-4E65-DB735509DD9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68681" y="146477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360818-EFA4-4B71-A6DE-778E435B1E68}" type="datetime'7''''''''5''''''%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80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160DED5-9CD9-DD91-B0C9-BC1BDF73624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98831" y="1249954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4500B6-6971-49B9-834F-F0E2A577E29C}" type="datetime'1''''''''''''''''00''''''''''''''''''''''''''%''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pic>
        <p:nvPicPr>
          <p:cNvPr id="228" name="Picture 2">
            <a:extLst>
              <a:ext uri="{FF2B5EF4-FFF2-40B4-BE49-F238E27FC236}">
                <a16:creationId xmlns:a16="http://schemas.microsoft.com/office/drawing/2014/main" id="{8DB69B63-61BE-5C46-8A34-36EFC3000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28808">
            <a:off x="6293374" y="1234223"/>
            <a:ext cx="673079" cy="13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63E9FBF0-DE97-B16B-CFBC-3B6B65AB0AD7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396691" y="1634352"/>
            <a:ext cx="181328" cy="147329"/>
          </a:xfrm>
          <a:prstGeom prst="rect">
            <a:avLst/>
          </a:prstGeom>
        </p:spPr>
      </p:pic>
      <p:sp>
        <p:nvSpPr>
          <p:cNvPr id="263" name="Rectangle 262">
            <a:extLst>
              <a:ext uri="{FF2B5EF4-FFF2-40B4-BE49-F238E27FC236}">
                <a16:creationId xmlns:a16="http://schemas.microsoft.com/office/drawing/2014/main" id="{8AE23781-2EAD-BF4D-F842-D4016AD09C76}"/>
              </a:ext>
            </a:extLst>
          </p:cNvPr>
          <p:cNvSpPr/>
          <p:nvPr/>
        </p:nvSpPr>
        <p:spPr bwMode="auto">
          <a:xfrm>
            <a:off x="4820371" y="837341"/>
            <a:ext cx="4098205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The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relative importance of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community size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 is shown by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a</a:t>
            </a:r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doption models</a:t>
            </a:r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 in the literature</a:t>
            </a:r>
            <a:r>
              <a:rPr lang="en-US" sz="1000" kern="1200" baseline="30000" dirty="0">
                <a:solidFill>
                  <a:schemeClr val="accent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01B6B5-50A6-C102-0F4A-13A46F46DC41}"/>
              </a:ext>
            </a:extLst>
          </p:cNvPr>
          <p:cNvSpPr/>
          <p:nvPr/>
        </p:nvSpPr>
        <p:spPr bwMode="auto">
          <a:xfrm>
            <a:off x="461235" y="837341"/>
            <a:ext cx="3911356" cy="1803557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The economics literature tells us that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everal fac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e.g.,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network effect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quality, multi-homing costs)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ffect the growth of platforms: e.g., (Zhu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Iansiti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2), Lee (2013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P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latforms with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more contribu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have more productive volunteer communities 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Loh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Kretschmer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2022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1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- this relationship is mainly driven by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xtensive margin</a:t>
            </a:r>
            <a:endParaRPr lang="en-US" sz="1000" b="1" dirty="0">
              <a:solidFill>
                <a:schemeClr val="tx1"/>
              </a:solidFill>
              <a:ea typeface="Tahoma"/>
              <a:cs typeface="Tahoma"/>
            </a:endParaRP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ocial network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ttract audiences that can be monetized via advertising –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intensive marg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ngagement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is key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kern="1200" dirty="0">
              <a:solidFill>
                <a:schemeClr val="tx1"/>
              </a:solidFill>
              <a:ea typeface="Tahoma"/>
              <a:cs typeface="Tahoma"/>
            </a:endParaRP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2BBC1B-1007-9674-EA66-B320C2A5AFE0}"/>
              </a:ext>
            </a:extLst>
          </p:cNvPr>
          <p:cNvSpPr/>
          <p:nvPr/>
        </p:nvSpPr>
        <p:spPr bwMode="auto">
          <a:xfrm flipH="1">
            <a:off x="4624077" y="1027361"/>
            <a:ext cx="116964" cy="145281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kern="1200" dirty="0">
                <a:solidFill>
                  <a:schemeClr val="accent1"/>
                </a:solidFill>
                <a:ea typeface="Tahoma"/>
                <a:cs typeface="Tahoma"/>
              </a:rPr>
              <a:t>Platform penetration rat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738DCC6-3753-9099-F7A2-24017BC718C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22025448"/>
              </p:ext>
            </p:extLst>
          </p:nvPr>
        </p:nvGraphicFramePr>
        <p:xfrm>
          <a:off x="5179467" y="2907927"/>
          <a:ext cx="3352319" cy="1557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09380E-D803-B8C9-1313-034F4C7551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53050" y="4422775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4A94B6-C449-456F-8444-5A1163BC3B44}" type="datetime'''Se''''''''''''p'''''''''' ''''''''''''''20''''''2''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2872F6-2B64-E101-B3C9-8A49D2E4969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75338" y="4422775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5CE1AD-D226-4A9B-AE53-DCF56BCEEF65}" type="datetime'''N''''''''o''''''v'''''''''' ''''''''''''''''''2''0''2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57B8926-68D5-1EF0-617A-16B39F2189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5563" y="4422775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4D810F-7748-4854-B389-62C9C4C5EC82}" type="datetime'''''J''''''a''n'''' 20''''''''''''''''''''''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83E42B-DE54-65C3-7EA5-0D1EE72A120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07213" y="4422775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99FA66-66B6-4D46-9593-FFDD2EB08311}" type="datetime'''''''''''''''''M''''''''''''a''''''''''''r ''20''''''21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F9DFDE4-8938-D8D0-4A47-50C84EDEA6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21563" y="4422775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F17179-A538-4435-9C8F-0459E41CDDD0}" type="datetime'''''M''''''ay'''''''' ''''2''''''''''''''''''''021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BB5BD29-E6AA-85A7-DA49-7495DE4F68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974013" y="4422775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650FFB-8B6B-478F-8AB4-CC91C2233DED}" type="datetime'''J''''''''''u''''l'''''''''''' ''''2''''''''0''2''1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911FDA6-F5B6-D488-C21F-DF012B2F15D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32350" y="43291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D8DC89D-72B8-4B81-B378-C742DDF99BA3}" type="datetime'0''''''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57DA9F0-2281-11FA-B2FA-62A04F89313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32350" y="41624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91B520-9767-4706-81B8-A2ED0B2EF634}" type="datetime'''''0.''''''''''''''''''''''2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FA65461-AF5A-1EA1-BB87-C3DACF69F12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32350" y="39941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04AF989-4CB7-4CE9-8814-515DA25942C2}" type="datetime'''''''''''''0''''''''''.''''''''''''''4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039EB2D-3F2F-8386-C8DA-1238D8AC168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32350" y="38274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FD9FE5-8AF5-4193-81B6-CBA47730B27E}" type="datetime'''''''''''''''''''''''''0''''''''''''''''.6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19EDCC4-7999-60EE-C725-C391F5F7E59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32350" y="36607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49431F-01F0-4A4F-BEF4-76100228E089}" type="datetime'''''''''''''''''''''0''''''''''''''''''''.''''''''8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6165AF7-D689-DCDC-2ACC-B97B82AC067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832350" y="34925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36748-2F6D-49AD-8CD5-BD5ACCDF4BE2}" type="datetime'1.''''''''''0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A2A5A33-0FB9-5D3D-215E-E44D3B04AE8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32350" y="33258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C52B21-936B-42FA-9667-02BEF6B6F1CF}" type="datetime'''''''''''''''1''''''''''.''''''''''''''''2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09AE480-4809-1717-7CE6-ABBCD91AF8C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32350" y="31591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521564-3C59-4F46-AAEA-FC699E04F99B}" type="datetime'''''''''''''''''''''''''''''''''''1''.''4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8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CDEC60-DEA3-6C1C-D898-BDBB28590B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32350" y="299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A61F71-2748-4CEA-B825-47D2A17DAB25}" type="datetime'''1''''''''''''''.''''''''''6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8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06E7F6C-F896-069D-77E5-42A28EAA0D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32350" y="28241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C3AE79-BFE0-4F96-9D3C-FF02DE6A559F}" type="datetime'''''''1''''''''''''''''.''''''''''''8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8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9C0F94E-C45E-59C6-8667-10B145ACA71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0458" y="26574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1A71E5-42FC-0E7D-FE75-A800503F3DD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20404" y="225528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D3F9AD6-2876-220F-553F-167935A0414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20404" y="208859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8104DE-F4E5-8ECB-F2DC-FF9342819D18}"/>
              </a:ext>
            </a:extLst>
          </p:cNvPr>
          <p:cNvGrpSpPr/>
          <p:nvPr/>
        </p:nvGrpSpPr>
        <p:grpSpPr>
          <a:xfrm>
            <a:off x="7027015" y="3071011"/>
            <a:ext cx="106363" cy="314325"/>
            <a:chOff x="7027015" y="2488036"/>
            <a:chExt cx="106363" cy="314325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41A354-CF01-CAC5-F30D-649280F2148F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>
              <a:off x="7027015" y="2488036"/>
              <a:ext cx="106363" cy="0"/>
            </a:xfrm>
            <a:prstGeom prst="line">
              <a:avLst/>
            </a:prstGeom>
            <a:ln w="19050" cap="rnd" cmpd="sng" algn="ctr">
              <a:solidFill>
                <a:srgbClr val="FF57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2A9D0BF-8705-95E9-8B01-E703B39B5254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>
              <a:off x="7027015" y="2645198"/>
              <a:ext cx="106363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44F4B87-CED8-D588-9C9D-FD03DDE38C3C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>
              <a:off x="7027015" y="2802361"/>
              <a:ext cx="106363" cy="0"/>
            </a:xfrm>
            <a:prstGeom prst="line">
              <a:avLst/>
            </a:prstGeom>
            <a:ln w="1905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76B5E79-BA8E-5436-206C-19228E326DB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93702" y="318561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Comments on shocked Subreddi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2C32FB7-3194-84A2-4194-EF4D8668088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93703" y="3314428"/>
            <a:ext cx="1203406" cy="133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2EE2EBE-BBAB-4B3E-9987-F04364324328}" type="datetime'Mean ''com''ments'''' o''''''n all'' o''ther'' Subreddit''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7FF03C-EE8B-D148-D8BE-C49BC06AA4B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93702" y="304487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Total comm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984BB4-979A-3D0D-B858-3696766E76E8}"/>
              </a:ext>
            </a:extLst>
          </p:cNvPr>
          <p:cNvSpPr/>
          <p:nvPr/>
        </p:nvSpPr>
        <p:spPr bwMode="auto">
          <a:xfrm rot="16200000">
            <a:off x="3774429" y="3566190"/>
            <a:ext cx="1810453" cy="16171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kern="1200" dirty="0">
                <a:solidFill>
                  <a:schemeClr val="tx1"/>
                </a:solidFill>
                <a:ea typeface="Tahoma"/>
                <a:cs typeface="Tahoma"/>
              </a:rPr>
              <a:t>Number of comments per da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FE6B060-5407-D64C-9D0E-4C12B4647E69}"/>
              </a:ext>
            </a:extLst>
          </p:cNvPr>
          <p:cNvSpPr/>
          <p:nvPr/>
        </p:nvSpPr>
        <p:spPr bwMode="auto">
          <a:xfrm>
            <a:off x="461235" y="2824163"/>
            <a:ext cx="3911356" cy="16628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Value on digital platforms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Reddit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)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often created by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communities of volunteer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Fershtma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andal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1; Lakhani &amp; Wolf, 2005; Lerner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Tirole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02)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ngagement in those communities can be an isolated phenomenon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Bunta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olbeck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4)</a:t>
            </a:r>
            <a:r>
              <a:rPr lang="en-US" sz="1000" baseline="30000" dirty="0">
                <a:solidFill>
                  <a:schemeClr val="tx1"/>
                </a:solidFill>
              </a:rPr>
              <a:t>2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i="0" dirty="0">
                <a:solidFill>
                  <a:schemeClr val="tx1"/>
                </a:solidFill>
                <a:effectLst/>
              </a:rPr>
              <a:t>However, a </a:t>
            </a:r>
            <a:r>
              <a:rPr lang="en-US" sz="1000" b="1" i="0" dirty="0">
                <a:solidFill>
                  <a:schemeClr val="tx1"/>
                </a:solidFill>
                <a:effectLst/>
              </a:rPr>
              <a:t>trigger event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0" i="0" dirty="0">
                <a:solidFill>
                  <a:schemeClr val="tx1"/>
                </a:solidFill>
                <a:effectLst/>
              </a:rPr>
              <a:t>(Pang, 2013)</a:t>
            </a:r>
            <a:r>
              <a:rPr lang="en-US" sz="1000" b="0" i="0" baseline="30000" dirty="0">
                <a:solidFill>
                  <a:schemeClr val="tx1"/>
                </a:solidFill>
                <a:effectLst/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can unveil </a:t>
            </a:r>
            <a:r>
              <a:rPr lang="en-US" sz="1000" b="1" dirty="0">
                <a:solidFill>
                  <a:schemeClr val="tx1"/>
                </a:solidFill>
              </a:rPr>
              <a:t>spill-overs in engagement</a:t>
            </a:r>
            <a:r>
              <a:rPr lang="en-US" sz="1000" dirty="0">
                <a:solidFill>
                  <a:schemeClr val="tx1"/>
                </a:solidFill>
              </a:rPr>
              <a:t> across communities (e.g., Subreddits) and the dynamics of engagement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47" name="Footer Placeholder 2">
            <a:extLst>
              <a:ext uri="{FF2B5EF4-FFF2-40B4-BE49-F238E27FC236}">
                <a16:creationId xmlns:a16="http://schemas.microsoft.com/office/drawing/2014/main" id="{D1A5D73B-B6E9-CC58-7C96-11FC7B23E807}"/>
              </a:ext>
            </a:extLst>
          </p:cNvPr>
          <p:cNvSpPr txBox="1">
            <a:spLocks/>
          </p:cNvSpPr>
          <p:nvPr/>
        </p:nvSpPr>
        <p:spPr>
          <a:xfrm>
            <a:off x="5021094" y="4677147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421086-30E4-CF34-4BF5-C16D288F4E4C}"/>
              </a:ext>
            </a:extLst>
          </p:cNvPr>
          <p:cNvSpPr/>
          <p:nvPr/>
        </p:nvSpPr>
        <p:spPr bwMode="auto">
          <a:xfrm>
            <a:off x="4954149" y="2503158"/>
            <a:ext cx="3911356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Engagement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seems less strongly tied to community size;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trigger events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can reveal key patterns</a:t>
            </a:r>
            <a:endParaRPr lang="en-US" sz="1000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1576024-C48E-3E06-556B-152F3970CD05}"/>
              </a:ext>
            </a:extLst>
          </p:cNvPr>
          <p:cNvSpPr txBox="1">
            <a:spLocks/>
          </p:cNvSpPr>
          <p:nvPr/>
        </p:nvSpPr>
        <p:spPr>
          <a:xfrm>
            <a:off x="5056492" y="4684138"/>
            <a:ext cx="2726542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3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Robin Lee</a:t>
            </a:r>
            <a:r>
              <a:rPr lang="en-US" sz="700">
                <a:solidFill>
                  <a:srgbClr val="3D505A"/>
                </a:solidFill>
                <a:latin typeface="Arial"/>
              </a:rPr>
              <a:t>, “Vertical Integration and Exclusivity in Platform and Two-Sided Markets”, 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2013</a:t>
            </a:r>
          </a:p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4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  <a:ea typeface="Tahoma"/>
                <a:cs typeface="Tahoma"/>
              </a:rPr>
              <a:t>KS Economic Research, “Platform Quality, Network Effects, and the Growth of Social Networks”, 2022 </a:t>
            </a:r>
            <a:endParaRPr lang="en-US" sz="700" dirty="0">
              <a:latin typeface="+mj-lt"/>
              <a:ea typeface="Tahoma"/>
              <a:cs typeface="Tahoma"/>
            </a:endParaRPr>
          </a:p>
        </p:txBody>
      </p:sp>
      <p:pic>
        <p:nvPicPr>
          <p:cNvPr id="1028" name="Picture 4" descr="leahqueen888 | Twitter, Instagram, Facebook, TikTok | Linktree">
            <a:extLst>
              <a:ext uri="{FF2B5EF4-FFF2-40B4-BE49-F238E27FC236}">
                <a16:creationId xmlns:a16="http://schemas.microsoft.com/office/drawing/2014/main" id="{48C4008D-365A-780E-E12B-099EAFFB9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302" y="3857987"/>
            <a:ext cx="331693" cy="33169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88219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3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most engaged users </a:t>
            </a:r>
            <a:r>
              <a:rPr lang="en-US" i="1"/>
              <a:t>substituted </a:t>
            </a:r>
            <a:r>
              <a:rPr lang="en-US"/>
              <a:t>their engagement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0599" y="3313976"/>
            <a:ext cx="688283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22619" y="2786017"/>
            <a:ext cx="2138289" cy="662554"/>
          </a:xfrm>
          <a:prstGeom prst="wedgeRoundRectCallout">
            <a:avLst>
              <a:gd name="adj1" fmla="val -64062"/>
              <a:gd name="adj2" fmla="val 35165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Substitution of engagement for the most engaged users pre-shock</a:t>
            </a:r>
          </a:p>
        </p:txBody>
      </p:sp>
    </p:spTree>
    <p:extLst>
      <p:ext uri="{BB962C8B-B14F-4D97-AF65-F5344CB8AC3E}">
        <p14:creationId xmlns:p14="http://schemas.microsoft.com/office/powerpoint/2010/main" val="114454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7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post-shock engagement is highly dependent on pre-shock levels of engagement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752725" y="3432516"/>
            <a:ext cx="2047876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105780"/>
              <a:gd name="adj2" fmla="val -54134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Less engaged users increased their engagement significantly post-shock…</a:t>
            </a:r>
          </a:p>
        </p:txBody>
      </p:sp>
    </p:spTree>
    <p:extLst>
      <p:ext uri="{BB962C8B-B14F-4D97-AF65-F5344CB8AC3E}">
        <p14:creationId xmlns:p14="http://schemas.microsoft.com/office/powerpoint/2010/main" val="4294670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7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with the most engaged users substituting their eng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7513" y="3432516"/>
            <a:ext cx="687868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70854"/>
              <a:gd name="adj2" fmla="val -53276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…while the most engaged users actually decreased their engagement post 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996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FB4FBDA-F013-7C26-0A70-473C8C9982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36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5" imgH="312" progId="TCLayout.ActiveDocument.1">
                  <p:embed/>
                </p:oleObj>
              </mc:Choice>
              <mc:Fallback>
                <p:oleObj name="think-cell Slide" r:id="rId39" imgW="305" imgH="312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FB4FBDA-F013-7C26-0A70-473C8C99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DF85372-5132-CFC9-6C96-85E6E9252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 dirty="0"/>
              <a:t>The GameStop short-squeeze was attributed to WSB users which triggered increased outsider attention for W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CBD76-6208-95B9-E291-45310FA29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6C957BD-C326-9DB6-F41A-F1A3662F5B33}"/>
              </a:ext>
            </a:extLst>
          </p:cNvPr>
          <p:cNvSpPr/>
          <p:nvPr/>
        </p:nvSpPr>
        <p:spPr bwMode="auto">
          <a:xfrm>
            <a:off x="469904" y="3810001"/>
            <a:ext cx="8216895" cy="676694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Leverage the r/WSB trigger event to evaluate engagement changes across subreddits (spillover effects): 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1. What do trigger events/attention shocks tell us about substitution and complementarity in social engagement?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2. Can a trigger event to a subreddit drive adoption and retention of news users?</a:t>
            </a:r>
          </a:p>
        </p:txBody>
      </p:sp>
      <p:graphicFrame>
        <p:nvGraphicFramePr>
          <p:cNvPr id="2126" name="Chart 2125">
            <a:extLst>
              <a:ext uri="{FF2B5EF4-FFF2-40B4-BE49-F238E27FC236}">
                <a16:creationId xmlns:a16="http://schemas.microsoft.com/office/drawing/2014/main" id="{92A64431-E3EC-C9E4-3DFB-46624EF32A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54282"/>
              </p:ext>
            </p:extLst>
          </p:nvPr>
        </p:nvGraphicFramePr>
        <p:xfrm>
          <a:off x="5053013" y="1144588"/>
          <a:ext cx="3727450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DFA4CE3-8ECC-4B85-CF46-DC1747312C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9418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2ED474-B265-4251-8171-1ADF622153C4}" type="datetime'''''''''''''''Ju''''''l'' ''''''''2''''''020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526AFC4-215C-54D9-BAF9-E6681B89D9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451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C49D74-7F07-439A-A2C6-FDB5C8F1BC72}" type="datetime'''O''ct'''''''' ''''2''''0''''''''20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80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F4C31B50-D0AB-4938-07B4-4506CA7030A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579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C6E373-6E05-49FF-A8DD-D5B917269008}" type="datetime'J''''''''a''n'' 2''''0''''''''''''''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B552BF4-E3C4-E762-C284-AD4D375659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62788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8A54C1-BD8A-472B-A9C0-1EA64A1051C9}" type="datetime'''''''''''''Ap''''r'''' ''''''''''''2''0''''2''''''''''''''1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80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C7C4FBDD-4E89-B729-EBE6-9FF5FD2394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7866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4A23DF-F719-4D39-A62F-68FE2A2736F1}" type="datetime'''''''''''J''ul'''''''' 2''''''0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17F95801-32E7-E344-DE8D-B5805B6715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899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735399-2421-4C94-B72E-F12791F47B0D}" type="datetime'O''''''ct ''''''''''''''''''''''''''2''''0''2''''''''''1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80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E70C353-902E-3BD1-9700-47F5A8CBEF5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21250" y="3416300"/>
            <a:ext cx="1476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BF214E-B669-456C-86F4-799A9EBCF949}" type="datetime'''''''''''''''''''''''''''''''0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0A8B38E-0A02-0403-1DF1-A1F7CAC6DE9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64100" y="296703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52A6CE-3B5E-4487-8CC6-64DDB32B7990}" type="datetime'''2''0''''''''''''''''''''''''''''''%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80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03C5E990-624E-080B-A552-F694B95285B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64100" y="251618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93BA0D-6649-4E9A-A60E-7C2A45B68A69}" type="datetime'''''''''''''''''4''''''''''''''''''''0''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80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F949E81F-9B8B-58A7-982A-2A244D2FAA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64100" y="206692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8EF9BF1-66BE-47AE-BACD-250F27C02CDD}" type="datetime'6''''''''0''''''''''''''''''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80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6243670B-98BF-E519-418D-A5D8F38EA8C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64100" y="161607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C85222-1E66-4132-9B41-32406F121764}" type="datetime'''''''''''''''''''''''''''''''''''8''0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80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03A2859C-E9B6-963A-03C9-A84DCBEC0C0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6950" y="11668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BCD7-150B-4A28-92CE-9D2278BFF316}" type="datetime'''''''''''''1''''''''0''''0''''''''''''''''''%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E58A27E-80C9-89F5-A73C-F730A1D85B9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84788" y="1325563"/>
            <a:ext cx="12382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4FDD9EEE-59EF-18C3-45D1-95862A44DD3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289550" y="1498600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6B8ADAB9-FB2A-C9DE-3723-5A3448C0E09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68938" y="1268413"/>
            <a:ext cx="214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0377EA-E0D3-453E-B6DA-946D1D296E4F}" type="datetime'''''''''''''''''''''''''W''S''''''''''J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SJ</a:t>
            </a:fld>
            <a:endParaRPr lang="en-US" sz="80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C22A511-6EEB-A391-A2D8-F7B83664FA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68938" y="1441450"/>
            <a:ext cx="685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C98A31-13C7-44A0-AB89-2659716F74F2}" type="datetime'''''''r/''w''''''''''al''l''st''''''''reet''''be''ts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</a:t>
            </a:fld>
            <a:endParaRPr lang="en-US" sz="800"/>
          </a:p>
        </p:txBody>
      </p:sp>
      <p:pic>
        <p:nvPicPr>
          <p:cNvPr id="178" name="Picture 177">
            <a:extLst>
              <a:ext uri="{FF2B5EF4-FFF2-40B4-BE49-F238E27FC236}">
                <a16:creationId xmlns:a16="http://schemas.microsoft.com/office/drawing/2014/main" id="{ED549B53-7846-C3DB-CBF8-9C127D613AB3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12597" y="1286373"/>
            <a:ext cx="779633" cy="251915"/>
          </a:xfrm>
          <a:prstGeom prst="rect">
            <a:avLst/>
          </a:prstGeom>
        </p:spPr>
      </p:pic>
      <p:pic>
        <p:nvPicPr>
          <p:cNvPr id="2050" name="Picture 2" descr="The Wall Street Journal">
            <a:extLst>
              <a:ext uri="{FF2B5EF4-FFF2-40B4-BE49-F238E27FC236}">
                <a16:creationId xmlns:a16="http://schemas.microsoft.com/office/drawing/2014/main" id="{07054790-F83B-82E9-DC8E-A528D7122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627" y="3030049"/>
            <a:ext cx="339054" cy="19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05" name="Chart 2104">
            <a:extLst>
              <a:ext uri="{FF2B5EF4-FFF2-40B4-BE49-F238E27FC236}">
                <a16:creationId xmlns:a16="http://schemas.microsoft.com/office/drawing/2014/main" id="{E68176AE-8A79-BDA4-315E-8B582A6D4115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7305280"/>
              </p:ext>
            </p:extLst>
          </p:nvPr>
        </p:nvGraphicFramePr>
        <p:xfrm>
          <a:off x="606425" y="1144588"/>
          <a:ext cx="3802063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98052A08-49EA-6567-32B4-154001BBB5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78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05006F-647F-4A24-87D0-957009C1EB66}" type="datetime'''''''Ja''n'''' ''''2''''''02''''''''''''''0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8" name="Text Placeholder 2">
            <a:extLst>
              <a:ext uri="{FF2B5EF4-FFF2-40B4-BE49-F238E27FC236}">
                <a16:creationId xmlns:a16="http://schemas.microsoft.com/office/drawing/2014/main" id="{F4BA7A34-04C4-3B4A-D657-A3BE4A251BC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98549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6BF2A-C2C5-4CCE-9D85-921BB52DA35A}" type="datetime'J''''''''''''u''''''''l'' ''''2''''''''0''''''''''''20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ED9C83E5-9E5B-5710-423B-A09D629B21E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92275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69F72-610F-4EAA-94B5-D2228A9AB4B5}" type="datetime'''J''an'''' ''''''''''''''''''''''20''''''''''''''21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06B4538-646E-8579-3CBF-9BD719086FB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09812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18335-BA92-4B3F-B0EE-5B4B8B383E56}" type="datetime'''''''''''''Ju''''''''''''l'''' ''''''''''2''02''''''1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9" name="Text Placeholder 2">
            <a:extLst>
              <a:ext uri="{FF2B5EF4-FFF2-40B4-BE49-F238E27FC236}">
                <a16:creationId xmlns:a16="http://schemas.microsoft.com/office/drawing/2014/main" id="{83756C4E-BEF0-2F83-C0A5-376FBAEAA5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035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D8A7E-0242-4814-A352-5F993F2E456E}" type="datetime'Jan'''''''''''' ''''2''''''''''''''''''0''''''2''2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2</a:t>
            </a:fld>
            <a:endParaRPr lang="en-US" sz="800" dirty="0">
              <a:solidFill>
                <a:srgbClr val="3D505A"/>
              </a:solidFill>
            </a:endParaRP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77AA8A51-413D-46FE-18FD-9DDE91FEFC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21074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6270F-1412-4DA9-95DA-DE793C166679}" type="datetime'''''Ju''l'''''''''''' ''20''''''''''2''''2''''''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2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2" name="Text Placeholder 2">
            <a:extLst>
              <a:ext uri="{FF2B5EF4-FFF2-40B4-BE49-F238E27FC236}">
                <a16:creationId xmlns:a16="http://schemas.microsoft.com/office/drawing/2014/main" id="{4ADA9BCF-D5D0-3255-9CB2-F61BA1E7F73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14800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07822-4185-4039-BC88-8689D50733EA}" type="datetime'''Ja''n'''''''''' ''''''''''''''2''''''0''2''''3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3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3" name="Text Placeholder 2">
            <a:extLst>
              <a:ext uri="{FF2B5EF4-FFF2-40B4-BE49-F238E27FC236}">
                <a16:creationId xmlns:a16="http://schemas.microsoft.com/office/drawing/2014/main" id="{BC2FBFFC-7DE3-9F01-0B3C-8C58F38531E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000" y="3416300"/>
            <a:ext cx="114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E043B7-43DD-4294-AED8-2DD72A63C564}" type="datetime'''$''0''''''''''''''''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1" name="Text Placeholder 2">
            <a:extLst>
              <a:ext uri="{FF2B5EF4-FFF2-40B4-BE49-F238E27FC236}">
                <a16:creationId xmlns:a16="http://schemas.microsoft.com/office/drawing/2014/main" id="{63C06676-7046-6536-E38C-60291D559DE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50850" y="316706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41C41D-4F57-4A17-A467-A8498E58D7EF}" type="datetime'''$''''''''''''''''''''''''''''''''''''1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10</a:t>
            </a:fld>
            <a:endParaRPr lang="en-US" sz="80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E0F48FE-F2E9-4048-BE0E-2D758DEEE8C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50850" y="29162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04E1AE-BE95-44C3-8E2E-E2106717C356}" type="datetime'''''''''''''''''''''$''''''''''''''''''2''''0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2" name="Text Placeholder 2">
            <a:extLst>
              <a:ext uri="{FF2B5EF4-FFF2-40B4-BE49-F238E27FC236}">
                <a16:creationId xmlns:a16="http://schemas.microsoft.com/office/drawing/2014/main" id="{F5C4D996-F3D3-3EA4-074A-64EA9D90ECA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850" y="266700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9C955-8677-4CB1-AF13-316925FF47B5}" type="datetime'''''''''''''''''$''3''''''''''0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30</a:t>
            </a:fld>
            <a:endParaRPr lang="en-US" sz="800"/>
          </a:p>
        </p:txBody>
      </p:sp>
      <p:sp>
        <p:nvSpPr>
          <p:cNvPr id="2054" name="Text Placeholder 2">
            <a:extLst>
              <a:ext uri="{FF2B5EF4-FFF2-40B4-BE49-F238E27FC236}">
                <a16:creationId xmlns:a16="http://schemas.microsoft.com/office/drawing/2014/main" id="{898089F3-C773-30F6-2556-7A6CF12BBA1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0850" y="24161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5AF968-7C17-469B-8083-B454321DE057}" type="datetime'''''''$''''4''''''''''0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4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3" name="Text Placeholder 2">
            <a:extLst>
              <a:ext uri="{FF2B5EF4-FFF2-40B4-BE49-F238E27FC236}">
                <a16:creationId xmlns:a16="http://schemas.microsoft.com/office/drawing/2014/main" id="{93C6B3D3-A902-7692-8C2C-36FD50B93B3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0850" y="21669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C9601D-F389-499C-9C07-E35B49DB27C3}" type="datetime'''''''''''$''''''''''''''''''''''''''5''''''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50</a:t>
            </a:fld>
            <a:endParaRPr lang="en-US" sz="800"/>
          </a:p>
        </p:txBody>
      </p:sp>
      <p:sp>
        <p:nvSpPr>
          <p:cNvPr id="2055" name="Text Placeholder 2">
            <a:extLst>
              <a:ext uri="{FF2B5EF4-FFF2-40B4-BE49-F238E27FC236}">
                <a16:creationId xmlns:a16="http://schemas.microsoft.com/office/drawing/2014/main" id="{016988D7-1227-A45C-A7A8-F33F109D29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850" y="19161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292F29-DEA8-4F45-87E7-1F5C6CCD88ED}" type="datetime'''''''''''''''''''''''''''''''$''''''6''''''''''''0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6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4" name="Text Placeholder 2">
            <a:extLst>
              <a:ext uri="{FF2B5EF4-FFF2-40B4-BE49-F238E27FC236}">
                <a16:creationId xmlns:a16="http://schemas.microsoft.com/office/drawing/2014/main" id="{FE2A34B9-08ED-DD3A-02CF-D15B6DBB913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0850" y="16668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DFC51D-1192-4760-A461-9F80A527C9ED}" type="datetime'''''''''$''''''''''''''''''7''''''''''''''''''0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70</a:t>
            </a:fld>
            <a:endParaRPr lang="en-US" sz="800"/>
          </a:p>
        </p:txBody>
      </p:sp>
      <p:sp>
        <p:nvSpPr>
          <p:cNvPr id="2056" name="Text Placeholder 2">
            <a:extLst>
              <a:ext uri="{FF2B5EF4-FFF2-40B4-BE49-F238E27FC236}">
                <a16:creationId xmlns:a16="http://schemas.microsoft.com/office/drawing/2014/main" id="{98DB19F3-78EF-10C0-1E27-3513829EFA3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0850" y="141605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9FC178-D263-4872-977A-385C39930201}" type="datetime'''''''''$8''''''0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8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5" name="Text Placeholder 2">
            <a:extLst>
              <a:ext uri="{FF2B5EF4-FFF2-40B4-BE49-F238E27FC236}">
                <a16:creationId xmlns:a16="http://schemas.microsoft.com/office/drawing/2014/main" id="{D7B20BB2-CEF7-7298-83D5-062D7F0E43A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0850" y="11668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5231B8-869E-4067-B0BE-0CE27EB0A9D8}" type="datetime'''''''''''''''''''''''''''''''$''''9''''''''''''''''0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90</a:t>
            </a:fld>
            <a:endParaRPr lang="en-US" sz="800"/>
          </a:p>
        </p:txBody>
      </p:sp>
      <p:pic>
        <p:nvPicPr>
          <p:cNvPr id="2058" name="Picture 4" descr="GameStop Logo and symbol, meaning, history, PNG">
            <a:extLst>
              <a:ext uri="{FF2B5EF4-FFF2-40B4-BE49-F238E27FC236}">
                <a16:creationId xmlns:a16="http://schemas.microsoft.com/office/drawing/2014/main" id="{788BD655-490E-C1A8-8B2B-C69201E525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98" b="29858"/>
          <a:stretch/>
        </p:blipFill>
        <p:spPr bwMode="auto">
          <a:xfrm>
            <a:off x="2567158" y="1658938"/>
            <a:ext cx="783884" cy="17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6">
            <a:extLst>
              <a:ext uri="{FF2B5EF4-FFF2-40B4-BE49-F238E27FC236}">
                <a16:creationId xmlns:a16="http://schemas.microsoft.com/office/drawing/2014/main" id="{BDD2592A-C9A7-9753-D3ED-57D3B637E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97" y="2913506"/>
            <a:ext cx="587827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60" name="Straight Connector 2059">
            <a:extLst>
              <a:ext uri="{FF2B5EF4-FFF2-40B4-BE49-F238E27FC236}">
                <a16:creationId xmlns:a16="http://schemas.microsoft.com/office/drawing/2014/main" id="{822DD863-8B07-1763-C610-A89B1E05E225}"/>
              </a:ext>
            </a:extLst>
          </p:cNvPr>
          <p:cNvCxnSpPr/>
          <p:nvPr/>
        </p:nvCxnSpPr>
        <p:spPr>
          <a:xfrm flipH="1">
            <a:off x="885884" y="3159568"/>
            <a:ext cx="59635" cy="134938"/>
          </a:xfrm>
          <a:prstGeom prst="line">
            <a:avLst/>
          </a:prstGeom>
          <a:ln w="12700" cmpd="sng">
            <a:solidFill>
              <a:srgbClr val="CE0E2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3" name="Rectangle 2102">
            <a:extLst>
              <a:ext uri="{FF2B5EF4-FFF2-40B4-BE49-F238E27FC236}">
                <a16:creationId xmlns:a16="http://schemas.microsoft.com/office/drawing/2014/main" id="{B9B4FA89-E399-26B0-B160-A72097F766C5}"/>
              </a:ext>
            </a:extLst>
          </p:cNvPr>
          <p:cNvSpPr/>
          <p:nvPr/>
        </p:nvSpPr>
        <p:spPr bwMode="auto">
          <a:xfrm>
            <a:off x="688975" y="857419"/>
            <a:ext cx="365442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Unprecedented growth of meme stocks in Jan. 2021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tock price of GME and AMC from 2020 to 2022</a:t>
            </a:r>
          </a:p>
        </p:txBody>
      </p:sp>
      <p:sp>
        <p:nvSpPr>
          <p:cNvPr id="2115" name="Rectangle 2114">
            <a:extLst>
              <a:ext uri="{FF2B5EF4-FFF2-40B4-BE49-F238E27FC236}">
                <a16:creationId xmlns:a16="http://schemas.microsoft.com/office/drawing/2014/main" id="{BE754983-B653-D998-0541-0C57C310B627}"/>
              </a:ext>
            </a:extLst>
          </p:cNvPr>
          <p:cNvSpPr/>
          <p:nvPr/>
        </p:nvSpPr>
        <p:spPr bwMode="auto">
          <a:xfrm>
            <a:off x="5124469" y="857419"/>
            <a:ext cx="3568681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Google Trends interest over time for r/WSB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ssive spike starting the week of January 25, 2021</a:t>
            </a:r>
          </a:p>
        </p:txBody>
      </p:sp>
      <p:sp>
        <p:nvSpPr>
          <p:cNvPr id="2129" name="Rectangle 2128">
            <a:extLst>
              <a:ext uri="{FF2B5EF4-FFF2-40B4-BE49-F238E27FC236}">
                <a16:creationId xmlns:a16="http://schemas.microsoft.com/office/drawing/2014/main" id="{E1CD43E9-1275-398E-03F7-CDB24428CF3F}"/>
              </a:ext>
            </a:extLst>
          </p:cNvPr>
          <p:cNvSpPr/>
          <p:nvPr/>
        </p:nvSpPr>
        <p:spPr bwMode="auto">
          <a:xfrm rot="16200000">
            <a:off x="-138532" y="2264403"/>
            <a:ext cx="818402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Stock pric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130" name="Rectangle 2129">
            <a:extLst>
              <a:ext uri="{FF2B5EF4-FFF2-40B4-BE49-F238E27FC236}">
                <a16:creationId xmlns:a16="http://schemas.microsoft.com/office/drawing/2014/main" id="{DC845951-0390-0233-CA12-4E48615A2DCB}"/>
              </a:ext>
            </a:extLst>
          </p:cNvPr>
          <p:cNvSpPr/>
          <p:nvPr/>
        </p:nvSpPr>
        <p:spPr bwMode="auto">
          <a:xfrm rot="16200000">
            <a:off x="3718252" y="2264403"/>
            <a:ext cx="1929748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Google Trends interest over tim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pic>
        <p:nvPicPr>
          <p:cNvPr id="2134" name="Picture 2133">
            <a:extLst>
              <a:ext uri="{FF2B5EF4-FFF2-40B4-BE49-F238E27FC236}">
                <a16:creationId xmlns:a16="http://schemas.microsoft.com/office/drawing/2014/main" id="{177B0556-6030-EFA5-F642-784563685F24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005269" y="1783778"/>
            <a:ext cx="1875268" cy="5091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36" name="Picture 2135">
            <a:extLst>
              <a:ext uri="{FF2B5EF4-FFF2-40B4-BE49-F238E27FC236}">
                <a16:creationId xmlns:a16="http://schemas.microsoft.com/office/drawing/2014/main" id="{3A77E9D4-D3BC-72D1-9AE6-1688246F8C35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442262" y="2181639"/>
            <a:ext cx="1574739" cy="961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7688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FE56A1-48A6-06EE-933B-F6B9E09FF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25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606" imgH="608" progId="TCLayout.ActiveDocument.1">
                  <p:embed/>
                </p:oleObj>
              </mc:Choice>
              <mc:Fallback>
                <p:oleObj name="think-cell Slide" r:id="rId52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E56A1-48A6-06EE-933B-F6B9E09FF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F23A8975-C3F9-9E56-6711-51C413ADE30B}"/>
              </a:ext>
            </a:extLst>
          </p:cNvPr>
          <p:cNvSpPr/>
          <p:nvPr/>
        </p:nvSpPr>
        <p:spPr bwMode="auto">
          <a:xfrm>
            <a:off x="2611018" y="1304772"/>
            <a:ext cx="346285" cy="3312272"/>
          </a:xfrm>
          <a:prstGeom prst="roundRect">
            <a:avLst>
              <a:gd name="adj" fmla="val 11050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36459C6E-2A70-3F1C-B64E-9395ABD35ED3}"/>
              </a:ext>
            </a:extLst>
          </p:cNvPr>
          <p:cNvSpPr/>
          <p:nvPr/>
        </p:nvSpPr>
        <p:spPr bwMode="auto">
          <a:xfrm>
            <a:off x="881065" y="1304772"/>
            <a:ext cx="1367255" cy="3312272"/>
          </a:xfrm>
          <a:prstGeom prst="roundRect">
            <a:avLst>
              <a:gd name="adj" fmla="val 3486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2CAB5-EF35-A110-4712-3E0C221D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eme stock mania drove unprecedented engagement on Redd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30F42-6FC9-8CA7-A2FA-122F078D6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2345F11-2310-CDD5-60CA-1C627F65A4A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18962"/>
              </p:ext>
            </p:extLst>
          </p:nvPr>
        </p:nvGraphicFramePr>
        <p:xfrm>
          <a:off x="774700" y="1228725"/>
          <a:ext cx="3660775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ED4800A-D81D-235D-3666-C58755C624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63563" y="38608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AF8020-D37A-4D81-8E78-91B6B22D99DD}" type="datetime'''''''''''''0''''''''''''.''''''''''''''''''''''0M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M</a:t>
            </a:fld>
            <a:endParaRPr lang="en-US" sz="80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360899F-7C7A-8C2E-AEEF-D151DBF5FA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3563" y="34258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200B55-7780-4451-AC5A-73338D6B9776}" type="datetime'''''''''''''''0''''''''''''''''.''3''''''''''''''''''''M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M</a:t>
            </a:fld>
            <a:endParaRPr lang="en-US" sz="80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1D77DDD-09E7-5125-D8FC-AA3826BFC2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63563" y="29908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50DE73-6CFB-4BDF-9660-0201A1FC3CE5}" type="datetime'0''''''''''.''''''''''''''''6''''M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M</a:t>
            </a:fld>
            <a:endParaRPr lang="en-US" sz="80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1B5678-989C-BB5F-CA19-AE1CD4DB80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3563" y="255587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6673F1-4920-4DF4-8075-39214F7C46DC}" type="datetime'''''''''''''0''''''.''''''''''''''9M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9M</a:t>
            </a:fld>
            <a:endParaRPr lang="en-US" sz="8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02B0274-799D-E3DB-7A48-4C4F1FDEB79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563" y="21209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08721A-8125-42AE-850B-7BD826FA965B}" type="datetime'1''''''''''''''''.''''''''''''''''''''''''''2''''''M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M</a:t>
            </a:fld>
            <a:endParaRPr lang="en-US" sz="80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9C3A4AD-310F-6281-D0CF-3850CC72207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3563" y="16859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37C37F-4342-429E-901E-9863723EC4C1}" type="datetime'''1''''''''''''.''''''5''''''''''''''''''''''''''''M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M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A574DDB0-5850-E3AD-82D6-95B643F76B2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3563" y="12509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BFCF21-62F4-4BB2-9F5C-1D91F1E2B007}" type="datetime'''1''''''''.''''''''''''''''8''''''''''''M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M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1B4DB6EC-21B9-6D12-E209-99B9CC0E1AB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29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solidFill>
                  <a:schemeClr val="bg1"/>
                </a:solidFill>
                <a:effectLst/>
              </a:rPr>
              <a:t>#1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ED4712-F49D-9D85-8CA7-BC73A4142BC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6996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486E18-8B71-4AAE-99B6-4BD5597A862B}" type="datetime'''''''Jan''''''''''''.'' 28,'''''''''' ''2''''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8, 2021</a:t>
            </a:fld>
            <a:endParaRPr lang="en-US" sz="80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B0A5B8F2-245E-A63F-F9F1-82ACBED331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92225" y="30099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</a:rPr>
              <a:t>#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ABB2943-3A4E-0E58-00C6-A0938DBC85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1921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99AE-8229-42EB-BAEE-CA742E213A76}" type="datetime'''Ja''''''''''''''''''''n''. 2''''''7'''''', ''2''''02''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7, 2021</a:t>
            </a:fld>
            <a:endParaRPr lang="en-US" sz="80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005F64C5-5E2C-C0DE-E49F-5BEB461527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43063" y="3068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bg1"/>
                </a:solidFill>
              </a:rPr>
              <a:t>#3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5ACBE6-D04F-55D0-8E71-FE6345FDB64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70050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3D7673-49DB-4D41-ACA1-F7B6BDD24C14}" type="datetime'''J''a''''''n''.'''''' ''''2''9,'''''''''''''' 20''''2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9, 2021</a:t>
            </a:fld>
            <a:endParaRPr lang="en-US" sz="80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93093083-E6A7-9958-A7C6-ACA0183160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92313" y="31972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4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D8E3718-11CF-2F83-1AF1-5507A8391E6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193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0F5E53-1AFD-4BAC-ADC1-A78445B9C152}" type="datetime'F''e''''''''''''''''''''b''''''.'''''' ''''1'','' 2''0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1, 2021</a:t>
            </a:fld>
            <a:endParaRPr lang="en-US" sz="80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ED63624-4674-A95E-F131-C2D8ECDB36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1563" y="32385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5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A57BEA-EFA8-8443-5134-2B3FF021F0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368550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CB1E7D-D405-41F3-9DB4-99EC239CC56E}" type="datetime'''N''''''''''o''''v''''''.'' ''''''''4,'''' 20''2''''0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4, 2020</a:t>
            </a:fld>
            <a:endParaRPr lang="en-US" sz="80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16EEC31C-828F-A5A2-6538-5F04BACF8A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90813" y="3241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6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A096A54-EA2E-9D87-B71A-EDC2D49ACE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178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BF9B0F-6283-46E0-B03A-3274C2C065B4}" type="datetime'''''''F''''''e''''b.'''''''''''' ''2,'''' ''''2''''0''''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2, 2021</a:t>
            </a:fld>
            <a:endParaRPr lang="en-US" sz="80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B27DA288-CB68-28E9-C6FA-BCF77446DF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40063" y="3270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7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ED0F3DC-B23F-EE12-934B-FB4BA7A6EC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67050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C8C88A-0D87-467D-89F9-27C93A667277}" type="datetime'''M''''ay''''''.'' 2,'' ''2''02''''''''''''''''''1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2, 2021</a:t>
            </a:fld>
            <a:endParaRPr lang="en-US" sz="80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432148B6-0E23-D178-994D-16A584047CC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90900" y="3275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8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B3452E6-B172-A7D1-9792-97D206237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17888" y="3954463"/>
            <a:ext cx="122238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C635A1-57A4-4C37-B053-E79A1B31FEE8}" type="datetime'''M''a''y''''. 1''4'''''''''''', ''''20''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14, 2019</a:t>
            </a:fld>
            <a:endParaRPr lang="en-US" sz="80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37B8C698-8FBF-56B3-4B45-B010EA4EBCE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0150" y="32940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9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C82E1FE-46AE-C570-94A5-8A0C12B6C73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67138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EF8982-3A08-4331-9463-218199A5D6D4}" type="datetime'''M''''''a''''y''''''. 6'''''', ''''''''''''2''''0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6, 2019</a:t>
            </a:fld>
            <a:endParaRPr lang="en-US" sz="800"/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D0C079DE-98B6-CE99-6C59-85F26E0F149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54475" y="3305175"/>
            <a:ext cx="2444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10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3A26BA-1DE7-FEA9-3885-BAC8A607B38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116388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2D472D-25AC-4DCB-A4C3-45147C6AA2D1}" type="datetime'N''ov''. ''6,'' ''''''''''2''''''''''''02''''''0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6, 2020</a:t>
            </a:fld>
            <a:endParaRPr lang="en-US" sz="80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8230CF6-C1A8-528F-0B6C-F86156B95FF7}"/>
              </a:ext>
            </a:extLst>
          </p:cNvPr>
          <p:cNvSpPr/>
          <p:nvPr/>
        </p:nvSpPr>
        <p:spPr bwMode="auto">
          <a:xfrm>
            <a:off x="857693" y="843769"/>
            <a:ext cx="3485708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holds the record for most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anking of comments on a Subreddit in a single da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C682400-4955-5524-3AC0-FE8A42EC9E52}"/>
              </a:ext>
            </a:extLst>
          </p:cNvPr>
          <p:cNvSpPr/>
          <p:nvPr/>
        </p:nvSpPr>
        <p:spPr bwMode="auto">
          <a:xfrm>
            <a:off x="919388" y="1332813"/>
            <a:ext cx="1290608" cy="28072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0069BCD-3ACB-B1FB-C07F-07E705E80AD4}"/>
              </a:ext>
            </a:extLst>
          </p:cNvPr>
          <p:cNvSpPr/>
          <p:nvPr/>
        </p:nvSpPr>
        <p:spPr bwMode="auto">
          <a:xfrm rot="16200000">
            <a:off x="2386547" y="1648652"/>
            <a:ext cx="805982" cy="17430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800" b="1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975E968-0B2C-C806-A01E-592F30CA9BA0}"/>
              </a:ext>
            </a:extLst>
          </p:cNvPr>
          <p:cNvSpPr/>
          <p:nvPr/>
        </p:nvSpPr>
        <p:spPr bwMode="auto">
          <a:xfrm rot="16200000">
            <a:off x="2060485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CF5D808-AFF0-0416-5C48-93D9A45779C1}"/>
              </a:ext>
            </a:extLst>
          </p:cNvPr>
          <p:cNvSpPr/>
          <p:nvPr/>
        </p:nvSpPr>
        <p:spPr bwMode="auto">
          <a:xfrm rot="16200000">
            <a:off x="2761813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FreeKarma4U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F5CB200-81F1-C9FB-F117-18E9263261B8}"/>
              </a:ext>
            </a:extLst>
          </p:cNvPr>
          <p:cNvSpPr/>
          <p:nvPr/>
        </p:nvSpPr>
        <p:spPr bwMode="auto">
          <a:xfrm rot="16200000">
            <a:off x="2973575" y="1762816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WarriorsBlaz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B4987D0-DDAD-47B9-05FA-5CE438D3DAD5}"/>
              </a:ext>
            </a:extLst>
          </p:cNvPr>
          <p:cNvSpPr/>
          <p:nvPr/>
        </p:nvSpPr>
        <p:spPr bwMode="auto">
          <a:xfrm rot="16200000">
            <a:off x="3319025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UFC237LiveStream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C977E48-DEE9-7A3E-1639-E218D70C381F}"/>
              </a:ext>
            </a:extLst>
          </p:cNvPr>
          <p:cNvSpPr/>
          <p:nvPr/>
        </p:nvSpPr>
        <p:spPr bwMode="auto">
          <a:xfrm rot="16200000">
            <a:off x="3664486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AD57D3B9-DFB1-77CF-3345-828CC4DABA54}"/>
              </a:ext>
            </a:extLst>
          </p:cNvPr>
          <p:cNvSpPr/>
          <p:nvPr/>
        </p:nvSpPr>
        <p:spPr bwMode="auto">
          <a:xfrm rot="16200000">
            <a:off x="-532605" y="2428640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Subreddit comments in a single day</a:t>
            </a:r>
          </a:p>
        </p:txBody>
      </p:sp>
      <p:graphicFrame>
        <p:nvGraphicFramePr>
          <p:cNvPr id="398" name="Chart 397">
            <a:extLst>
              <a:ext uri="{FF2B5EF4-FFF2-40B4-BE49-F238E27FC236}">
                <a16:creationId xmlns:a16="http://schemas.microsoft.com/office/drawing/2014/main" id="{5C10FA02-8727-36BA-F096-970D8D6203F0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11437582"/>
              </p:ext>
            </p:extLst>
          </p:nvPr>
        </p:nvGraphicFramePr>
        <p:xfrm>
          <a:off x="5441950" y="1222375"/>
          <a:ext cx="3338513" cy="278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D79C58-8034-2788-E9BC-2FF63E5F54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641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607432-C3A7-4521-BD9B-8675EA401570}" type="datetime'''J''''''a''n 1''''0, ''''''2''''''''''''''''''''''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0,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5312CBC-3974-D642-699E-F1ADFEA476B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25792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6F9239-9FA0-4EBD-A388-E857A453B07B}" type="datetime'Jan'''''''' ''1''''''''''''''''''7'''''''''', ''''2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7,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D56C551D-F744-7B18-8E28-02CAAA47403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0516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64DB86-6B12-4250-84DB-10E313AB9204}" type="datetime'''''''''J''a''n'' 2''''4'','' ''''''''2''0''''2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4,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C5CB28F9-CE23-C4E8-BA05-2F95B7D27CA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843838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C8A06A-6E32-46DE-BE40-0B13416C52C7}" type="datetime'''J''''''''an'''' 3''1,'''' ''''2''''''''''''02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31,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282528F4-22B0-F7D1-0A5D-DE342338CD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637588" y="3954463"/>
            <a:ext cx="1222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A81641-315D-483F-B125-95256036B33E}" type="datetime'Feb'''''' ''''''''''''7'''''''''''''''''','' 2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 7, 2021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66AA09EE-5EF4-EE0B-C8F5-3A6E76D3B35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32413" y="3860800"/>
            <a:ext cx="125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7A9390-8DF9-47BD-8B02-57BB368D23EE}" type="datetime'''''0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K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6CC52B22-326B-C841-A71F-1F11260583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75263" y="3336925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238FCB-700B-43AE-99D2-A04564F46FBC}" type="datetime'''''''''''2''''''''''''''''''''''''''''''''5''K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K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665566E4-DBB3-605A-C84A-67E76E04A7D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75263" y="2814638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EF39A-1D32-472E-973D-0CE2773CE08A}" type="datetime'5''''''''''''0''''''''''K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K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675A12AA-24C9-9C7D-9521-0CE07D0210F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275263" y="2290763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2ED7E2-14F7-4B75-8969-0608C5BB1CBD}" type="datetime'''''''7''''''''5''''''K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K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4273B293-741A-055E-7D5E-FA72FBB724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18113" y="1768475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2BB33-D71E-41D4-B7BE-32E176DE7670}" type="datetime'''''''''''1''''''''''''00''''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K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4D7E22D8-78A4-0160-8A7C-4A914BA0FE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218113" y="1244600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66C2E0-951E-4CA1-BDEF-6046F867D038}" type="datetime'''''''''''125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5K</a:t>
            </a:fld>
            <a:endParaRPr lang="en-US" sz="800"/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304BD5C8-6672-00BC-17B5-416DCB4F11D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658099" y="2935288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C444D-958D-4C8C-A804-0686C9E404D2}" type="datetime'''''''3''''''5''''''''''''K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K</a:t>
            </a:fld>
            <a:endParaRPr lang="en-US" sz="1000" b="1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FF5167C3-816C-B634-71DF-40E34B66E6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623174" y="13192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90F02A-CBD6-4E90-9E05-3BD36DFE3E08}" type="datetime'1''''''''''1''''''''''''''''''''''''2''''''''''''''''''K''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K</a:t>
            </a:fld>
            <a:endParaRPr lang="en-US" sz="1000" b="1"/>
          </a:p>
        </p:txBody>
      </p: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0EF04B11-55E8-7EBC-75F9-123EE800D3A5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5575300" y="1431925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486483F-3EED-03B8-F076-91A17CABFF4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75300" y="1604963"/>
            <a:ext cx="209550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5" name="Oval 364">
            <a:extLst>
              <a:ext uri="{FF2B5EF4-FFF2-40B4-BE49-F238E27FC236}">
                <a16:creationId xmlns:a16="http://schemas.microsoft.com/office/drawing/2014/main" id="{52F9219C-C4FB-FCA6-C415-FBBDB4EEC93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5641975" y="1393825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679C6775-D2DE-ABB6-2747-6A36A7CE6DCB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641975" y="1566863"/>
            <a:ext cx="76200" cy="76200"/>
          </a:xfrm>
          <a:prstGeom prst="ellips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3FDA45AE-DC15-2DA5-F4CA-F59CC50CB40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845175" y="1374775"/>
            <a:ext cx="1687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2F0815-F8FB-4882-A2C8-539E597044F8}" type="datetime'r/w''alls''''tr''''eetbe''ts fi''r''st ''ti''''me commenter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 first time commenters</a:t>
            </a:fld>
            <a:endParaRPr lang="en-US" sz="800"/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20AEAA0B-E7AF-FFB5-CAAB-492ED6EB317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845175" y="1547813"/>
            <a:ext cx="1557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F6352F-31B0-487E-96AA-33E0C2334CA7}" type="datetime'''Tot''''''al Reddit ''fi''r''''st-time com''me''nt''er''''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tal Reddit first-time commenters</a:t>
            </a:fld>
            <a:endParaRPr lang="en-US" sz="800"/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EB82D6B-9860-376B-6404-E9B4CADFA127}"/>
              </a:ext>
            </a:extLst>
          </p:cNvPr>
          <p:cNvSpPr/>
          <p:nvPr/>
        </p:nvSpPr>
        <p:spPr bwMode="auto">
          <a:xfrm rot="16200000">
            <a:off x="4154592" y="2428641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Reddit users with a first-time comment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860F90A7-6280-2BAE-AD75-C649910304D6}"/>
              </a:ext>
            </a:extLst>
          </p:cNvPr>
          <p:cNvSpPr/>
          <p:nvPr/>
        </p:nvSpPr>
        <p:spPr bwMode="auto">
          <a:xfrm>
            <a:off x="5532120" y="843769"/>
            <a:ext cx="315468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Largest number of users joining Reddit in a day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accent2"/>
                </a:solidFill>
                <a:ea typeface="Tahoma"/>
                <a:cs typeface="Tahoma"/>
              </a:rPr>
              <a:t>wallstreetbets</a:t>
            </a: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 likely drove new users to the platform</a:t>
            </a:r>
          </a:p>
        </p:txBody>
      </p:sp>
    </p:spTree>
    <p:extLst>
      <p:ext uri="{BB962C8B-B14F-4D97-AF65-F5344CB8AC3E}">
        <p14:creationId xmlns:p14="http://schemas.microsoft.com/office/powerpoint/2010/main" val="203414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99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19C963D-04E7-2261-9B32-3C63EBD85C51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We can observe two sets of existing Reddit users of interest based on when they commented on r/WSB and other Subredd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6C666-4456-C922-5F28-188E4B7A11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41E2066-382B-2BBE-48B5-58DB3BCEFD54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CA6F39-0F2D-802C-77DF-A078F9488A82}"/>
              </a:ext>
            </a:extLst>
          </p:cNvPr>
          <p:cNvCxnSpPr>
            <a:cxnSpLocks/>
            <a:stCxn id="36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3826079-C9C8-C60D-EB98-54FFAF4D88BC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6B23317-3BF7-C02C-A5A9-D92AA37EB308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F32D900-56E7-DFF7-8015-1788CEF6E70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98DFDC12-402F-A445-31E6-7ECB6AE320F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1A4E2B0-EE49-EA67-671A-0844BDEA0B33}"/>
              </a:ext>
            </a:extLst>
          </p:cNvPr>
          <p:cNvCxnSpPr>
            <a:cxnSpLocks/>
            <a:stCxn id="45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D07D81A4-42F4-24EF-7C86-C14EC389EAB0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FB59875-6CF1-3ADD-4ED3-ECDCBA2F5D9D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556E7FD2-9E60-7764-E5CE-364E934371FC}"/>
              </a:ext>
            </a:extLst>
          </p:cNvPr>
          <p:cNvCxnSpPr>
            <a:cxnSpLocks/>
            <a:stCxn id="6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EAF6A16-43B6-958D-1713-C21555C1BE4C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0470A40-268A-32B0-4014-F98118552AE6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3992047E-218F-C195-2359-AFC987200A2C}"/>
              </a:ext>
            </a:extLst>
          </p:cNvPr>
          <p:cNvCxnSpPr>
            <a:cxnSpLocks/>
            <a:stCxn id="66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ight Brace 67">
            <a:extLst>
              <a:ext uri="{FF2B5EF4-FFF2-40B4-BE49-F238E27FC236}">
                <a16:creationId xmlns:a16="http://schemas.microsoft.com/office/drawing/2014/main" id="{A305CD10-1EA4-FFFC-B3C3-917C1CEF657D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0C2AFF1-EB10-1673-3798-DB29BD6E6B14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27953B5C-2EC2-7CD3-7189-A382FA441000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8337E16-E321-D296-3A85-66426049A898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9DB024-254C-E4DA-F853-7C397D456CBD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30B56CB-3E4D-6926-A5B8-485DB19D2CF6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0FEC4B2-F3EF-D0CC-6240-1C275BEDE0E8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3632793-C109-CA23-C140-5A7F7E850224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8572CBD-541D-B3B2-550D-AE46A22D1589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1387B213-AF93-9964-F009-9A46A9BE959F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478DE5C-4D7C-610D-462D-188B8D64FC48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138AC98-4B03-3630-9B2B-63C71F31CDAE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0FF104D7-AE02-E03F-0772-FC927551747D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C978A73-B2D2-8CB3-ECDE-417A891F9C24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2793CB64-8F04-22BE-F257-C87AD2C28025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9F1477CA-3DF4-CDF9-E2F9-6B120D537F6E}"/>
              </a:ext>
            </a:extLst>
          </p:cNvPr>
          <p:cNvCxnSpPr>
            <a:cxnSpLocks/>
            <a:stCxn id="95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460C32AE-48BD-0331-2E17-7C0DF5D18EDA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E95A094-7F27-FC49-4BEF-AA5C167401E5}"/>
              </a:ext>
            </a:extLst>
          </p:cNvPr>
          <p:cNvCxnSpPr>
            <a:cxnSpLocks/>
            <a:stCxn id="97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8B68184-2393-395D-EAD7-87036B840081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F7B20994-52BD-8739-4A2F-F9DC7B4A440B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6E568623-0A90-B128-7808-41FB42AAFC52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A4349BB-219E-4CE2-03AD-BCCA90F39887}"/>
              </a:ext>
            </a:extLst>
          </p:cNvPr>
          <p:cNvCxnSpPr>
            <a:cxnSpLocks/>
            <a:stCxn id="101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ight Brace 102">
            <a:extLst>
              <a:ext uri="{FF2B5EF4-FFF2-40B4-BE49-F238E27FC236}">
                <a16:creationId xmlns:a16="http://schemas.microsoft.com/office/drawing/2014/main" id="{DEAF2E8F-91E0-A675-33CE-4FCD09A7CB87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FDCCDB1-D2E1-3180-0B9B-7F45DED75073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836ABB1E-CD38-88C8-CF83-6E7CF6D424F2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7D84750-49C4-FC36-879A-F2A540CD9360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AC1FA08-E2D5-26FC-0AB0-04829A73C35F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33EA6DF-41D8-54A6-F649-4D3938B4948C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0CA31B-79AC-A852-E4AD-35E45B1F45D1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1A9F26F-F793-E602-323F-4A9F7290D9B3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3257685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9468F4-AA74-1BAE-A100-743E7DE3B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12" progId="TCLayout.ActiveDocument.1">
                  <p:embed/>
                </p:oleObj>
              </mc:Choice>
              <mc:Fallback>
                <p:oleObj name="think-cell Slide" r:id="rId4" imgW="305" imgH="31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9468F4-AA74-1BAE-A100-743E7DE3B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5EE739EA-2CF9-9329-8EB3-C1FF21A270E4}"/>
              </a:ext>
            </a:extLst>
          </p:cNvPr>
          <p:cNvSpPr/>
          <p:nvPr/>
        </p:nvSpPr>
        <p:spPr bwMode="auto">
          <a:xfrm>
            <a:off x="2094547" y="3511767"/>
            <a:ext cx="6594946" cy="10069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0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/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/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4942C-F695-BBC2-1CBA-2E1BDBE56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6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/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Regression discontinuity (RD) in time</a:t>
                </a:r>
                <a:r>
                  <a:rPr lang="en-US" sz="1000"/>
                  <a:t>: Compare user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pr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000"/>
                  <a:t>) to the engagement during/after th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sz="1000"/>
                  <a:t>)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/>
                  <a:t>where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000"/>
                  <a:t> is user </a:t>
                </a:r>
                <a14:m>
                  <m:oMath xmlns:m="http://schemas.openxmlformats.org/officeDocument/2006/math">
                    <m:r>
                      <a:rPr lang="en-US" sz="10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in period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sz="1000"/>
                  <a:t> in subreddi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sz="1000"/>
                  <a:t> and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𝑊𝑆𝐵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𝑠𝑡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𝑜𝑓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𝑑𝑑𝑖𝑡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Identifying assumption: </a:t>
                </a:r>
                <a:r>
                  <a:rPr lang="en-US" sz="1000"/>
                  <a:t>Only exogenous shock in WSB’s popularity changes during the sample period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blipFill>
                <a:blip r:embed="rId8"/>
                <a:stretch>
                  <a:fillRect b="-348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/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WSB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blipFill>
                <a:blip r:embed="rId9"/>
                <a:stretch>
                  <a:fillRect b="-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/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Rest of Reddit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blipFill>
                <a:blip r:embed="rId10"/>
                <a:stretch>
                  <a:fillRect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936CC2-34BF-6DD8-8BDF-C2034773EF39}"/>
              </a:ext>
            </a:extLst>
          </p:cNvPr>
          <p:cNvCxnSpPr>
            <a:cxnSpLocks/>
          </p:cNvCxnSpPr>
          <p:nvPr/>
        </p:nvCxnSpPr>
        <p:spPr>
          <a:xfrm>
            <a:off x="5396478" y="2978582"/>
            <a:ext cx="0" cy="154010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2130FF9-87A7-EF06-2DA6-626E922FF278}"/>
              </a:ext>
            </a:extLst>
          </p:cNvPr>
          <p:cNvCxnSpPr>
            <a:cxnSpLocks/>
          </p:cNvCxnSpPr>
          <p:nvPr/>
        </p:nvCxnSpPr>
        <p:spPr>
          <a:xfrm>
            <a:off x="462467" y="3509996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436B21-B693-EDC7-037D-D4726041B26E}"/>
              </a:ext>
            </a:extLst>
          </p:cNvPr>
          <p:cNvCxnSpPr>
            <a:cxnSpLocks/>
          </p:cNvCxnSpPr>
          <p:nvPr/>
        </p:nvCxnSpPr>
        <p:spPr>
          <a:xfrm>
            <a:off x="2094546" y="3021570"/>
            <a:ext cx="0" cy="1497112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C02A301-A100-2AB1-83D5-336FECFE5F88}"/>
              </a:ext>
            </a:extLst>
          </p:cNvPr>
          <p:cNvCxnSpPr>
            <a:cxnSpLocks/>
          </p:cNvCxnSpPr>
          <p:nvPr/>
        </p:nvCxnSpPr>
        <p:spPr>
          <a:xfrm>
            <a:off x="462467" y="4017415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/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re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𝟎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blipFill>
                <a:blip r:embed="rId11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/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ost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𝟏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blipFill>
                <a:blip r:embed="rId12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𝜷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 marL="0" marR="0" lvl="0" indent="0" algn="l" defTabSz="342892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𝜹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66667" r="-138857" b="-34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140845" r="-138857" b="-18873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280328" r="-138857" b="-1196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3"/>
                          <a:stretch>
                            <a:fillRect l="-571" t="-326761" r="-138857" b="-28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8" name="Title 7">
            <a:extLst>
              <a:ext uri="{FF2B5EF4-FFF2-40B4-BE49-F238E27FC236}">
                <a16:creationId xmlns:a16="http://schemas.microsoft.com/office/drawing/2014/main" id="{A0D5A39C-B1D8-C63A-7653-4BCA89998DA5}"/>
              </a:ext>
            </a:extLst>
          </p:cNvPr>
          <p:cNvSpPr txBox="1">
            <a:spLocks/>
          </p:cNvSpPr>
          <p:nvPr/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42892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apturing expected engagement and complementarity/substitutabil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6AD3004-3197-7276-BD4C-C2C736E9FB35}"/>
              </a:ext>
            </a:extLst>
          </p:cNvPr>
          <p:cNvSpPr/>
          <p:nvPr/>
        </p:nvSpPr>
        <p:spPr bwMode="auto">
          <a:xfrm>
            <a:off x="462467" y="2878670"/>
            <a:ext cx="8217190" cy="285801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Expected user engage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/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blipFill>
                <a:blip r:embed="rId14"/>
                <a:stretch>
                  <a:fillRect b="-4762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Oval 2">
            <a:extLst>
              <a:ext uri="{FF2B5EF4-FFF2-40B4-BE49-F238E27FC236}">
                <a16:creationId xmlns:a16="http://schemas.microsoft.com/office/drawing/2014/main" id="{AF0EEA3F-33F3-43A4-9CDA-2E899BC06C0E}"/>
              </a:ext>
            </a:extLst>
          </p:cNvPr>
          <p:cNvSpPr>
            <a:spLocks noChangeAspect="1"/>
          </p:cNvSpPr>
          <p:nvPr/>
        </p:nvSpPr>
        <p:spPr bwMode="auto">
          <a:xfrm>
            <a:off x="3757984" y="4188909"/>
            <a:ext cx="201227" cy="201227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837D39-0B57-12FB-083E-1BF2D0359E73}"/>
              </a:ext>
            </a:extLst>
          </p:cNvPr>
          <p:cNvSpPr/>
          <p:nvPr/>
        </p:nvSpPr>
        <p:spPr bwMode="auto">
          <a:xfrm>
            <a:off x="4042431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WSB engagement post-shock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6E8C71-5032-344C-EE90-775A380054BA}"/>
              </a:ext>
            </a:extLst>
          </p:cNvPr>
          <p:cNvSpPr>
            <a:spLocks noChangeAspect="1"/>
          </p:cNvSpPr>
          <p:nvPr/>
        </p:nvSpPr>
        <p:spPr bwMode="auto">
          <a:xfrm>
            <a:off x="6903435" y="4143155"/>
            <a:ext cx="434290" cy="265645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/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𝜹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>
            <a:extLst>
              <a:ext uri="{FF2B5EF4-FFF2-40B4-BE49-F238E27FC236}">
                <a16:creationId xmlns:a16="http://schemas.microsoft.com/office/drawing/2014/main" id="{DD4642AD-E30E-4F5F-E510-3D9C5DA726D6}"/>
              </a:ext>
            </a:extLst>
          </p:cNvPr>
          <p:cNvSpPr/>
          <p:nvPr/>
        </p:nvSpPr>
        <p:spPr bwMode="auto">
          <a:xfrm>
            <a:off x="7405178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non-WSB engagement post-shock</a:t>
            </a:r>
          </a:p>
        </p:txBody>
      </p:sp>
    </p:spTree>
    <p:extLst>
      <p:ext uri="{BB962C8B-B14F-4D97-AF65-F5344CB8AC3E}">
        <p14:creationId xmlns:p14="http://schemas.microsoft.com/office/powerpoint/2010/main" val="311813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90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Oval 367">
            <a:extLst>
              <a:ext uri="{FF2B5EF4-FFF2-40B4-BE49-F238E27FC236}">
                <a16:creationId xmlns:a16="http://schemas.microsoft.com/office/drawing/2014/main" id="{3A132E12-6EBE-1AB0-60F3-94D9732927CD}"/>
              </a:ext>
            </a:extLst>
          </p:cNvPr>
          <p:cNvSpPr>
            <a:spLocks noChangeAspect="1"/>
          </p:cNvSpPr>
          <p:nvPr/>
        </p:nvSpPr>
        <p:spPr bwMode="auto">
          <a:xfrm>
            <a:off x="7788976" y="342048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07BB9297-2EA9-BC1D-4EB6-6ADFF7FD66C3}"/>
              </a:ext>
            </a:extLst>
          </p:cNvPr>
          <p:cNvSpPr>
            <a:spLocks noChangeAspect="1"/>
          </p:cNvSpPr>
          <p:nvPr/>
        </p:nvSpPr>
        <p:spPr bwMode="auto">
          <a:xfrm>
            <a:off x="5001880" y="299943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F367640-E8D0-FF67-4B6C-5B449E653883}"/>
              </a:ext>
            </a:extLst>
          </p:cNvPr>
          <p:cNvSpPr>
            <a:spLocks noChangeAspect="1"/>
          </p:cNvSpPr>
          <p:nvPr/>
        </p:nvSpPr>
        <p:spPr bwMode="auto">
          <a:xfrm>
            <a:off x="3560941" y="2966257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4593434" y="1295400"/>
            <a:ext cx="143665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pooled results show that the shock on r/</a:t>
            </a:r>
            <a:r>
              <a:rPr lang="en-US" err="1"/>
              <a:t>wallstreetbets</a:t>
            </a:r>
            <a:r>
              <a:rPr lang="en-US"/>
              <a:t> was largely transient: engagement increased rapidly but died down quickly af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13AF9F22-F86F-3091-FB65-649EE75AC2F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494797"/>
              </p:ext>
            </p:extLst>
          </p:nvPr>
        </p:nvGraphicFramePr>
        <p:xfrm>
          <a:off x="663575" y="1184275"/>
          <a:ext cx="8116888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18D5696-02B9-C0DE-E8D7-DF018326C3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C7580F-93E5-41BB-92B9-288100D463BF}" type="datetime'''S''''''''e''p'''''' ''''''''''20''''2''0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03BABE1-4E3D-6535-4D71-A6DFED99D1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989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47BD20-3BB9-48DB-9514-BE44C36219A3}" type="datetime'''''''''''N''''''o''''''''''''''''v 20''''2''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BAB2334-B747-926C-B667-FAA7E3A8D0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989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C0FD7E-09F5-4592-ABA6-69E2811C7D82}" type="datetime'''''''Mar'''''''''''''''''' 2''0''''''''''''''2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36613B3-A1DA-807D-4A9A-B5AF1A6412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989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6DA076-B9BC-45DA-AEC4-21455710A7A3}" type="datetime'''''''''M''''''a''''y'''' ''2''''0''''''2''''''''''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44594039-9472-E7BF-82BD-A0C3BF30AB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D072B6-69BD-44C1-ACA3-62DDB8058212}" type="datetime'''''''''S''''ep'''' ''2''''''0''''''2''''''''''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48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16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511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9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4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2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06450" y="1389063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06450" y="1592263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06450" y="1795463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36E68A30-C7DB-C709-DB0C-63A598D19DD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0588" y="1350963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3760D14-75BD-BCF2-72A1-E1F23F0043A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0588" y="1554163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6E324DA0-1BE3-E565-AE46-D0AE5A41BA9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90588" y="1757363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2838" y="1317625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2838" y="1520825"/>
            <a:ext cx="2232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2838" y="1724025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Weekly mean comments among pooled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Increased effect of engagement during the shocked period was transi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FA5ED18-D633-25A9-4B4C-31C9A17FCD3E}"/>
              </a:ext>
            </a:extLst>
          </p:cNvPr>
          <p:cNvCxnSpPr>
            <a:cxnSpLocks/>
            <a:stCxn id="89" idx="7"/>
          </p:cNvCxnSpPr>
          <p:nvPr/>
        </p:nvCxnSpPr>
        <p:spPr>
          <a:xfrm flipV="1">
            <a:off x="3641044" y="1582934"/>
            <a:ext cx="891018" cy="139706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9C9FDB-0D50-EFCD-B888-6B94F2C87914}"/>
              </a:ext>
            </a:extLst>
          </p:cNvPr>
          <p:cNvCxnSpPr>
            <a:cxnSpLocks/>
            <a:stCxn id="89" idx="5"/>
          </p:cNvCxnSpPr>
          <p:nvPr/>
        </p:nvCxnSpPr>
        <p:spPr>
          <a:xfrm>
            <a:off x="3641044" y="3046360"/>
            <a:ext cx="875676" cy="30126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EF12B50-261D-2522-E2A3-839858F16FC5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Three takeaway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A8A8244-D60A-950A-A7A8-2997602EB243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78A83EC-BE63-E8BC-4D5F-267C5346BE14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259C09-3634-6749-B068-9AEAC29C8E3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Increased engagement during shock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4DF703A-C230-3F4D-13D1-93D5AD37CCAD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A769AD7-898E-FAD7-9B2A-A3ADDB3B962C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No evidence of substitution or complementarity in other subreddits during the shocked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4F39929-8A43-0E17-1237-609C66FDB282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86090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7B698C8-BE0A-4EDB-D4A3-70A4C76D4887}"/>
              </a:ext>
            </a:extLst>
          </p:cNvPr>
          <p:cNvSpPr/>
          <p:nvPr/>
        </p:nvSpPr>
        <p:spPr bwMode="auto">
          <a:xfrm>
            <a:off x="5360509" y="1860901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Transient effect of the shock with return back to pre-shock levels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CFFF597-CB89-D777-C46D-43A5891C8E71}"/>
              </a:ext>
            </a:extLst>
          </p:cNvPr>
          <p:cNvSpPr>
            <a:spLocks noChangeAspect="1"/>
          </p:cNvSpPr>
          <p:nvPr/>
        </p:nvSpPr>
        <p:spPr bwMode="auto">
          <a:xfrm>
            <a:off x="3485195" y="289051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343E3D3A-5246-3915-57C3-8B8AA39F6808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4757738" y="2542901"/>
            <a:ext cx="257886" cy="47027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6CD68FF5-6583-6DD8-0E03-FE2743BC4F4F}"/>
              </a:ext>
            </a:extLst>
          </p:cNvPr>
          <p:cNvSpPr>
            <a:spLocks noChangeAspect="1"/>
          </p:cNvSpPr>
          <p:nvPr/>
        </p:nvSpPr>
        <p:spPr bwMode="auto">
          <a:xfrm>
            <a:off x="4926134" y="292369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C3BAEE8D-198E-8D05-9340-06281BD98D88}"/>
              </a:ext>
            </a:extLst>
          </p:cNvPr>
          <p:cNvCxnSpPr>
            <a:cxnSpLocks/>
            <a:stCxn id="368" idx="1"/>
          </p:cNvCxnSpPr>
          <p:nvPr/>
        </p:nvCxnSpPr>
        <p:spPr>
          <a:xfrm flipH="1" flipV="1">
            <a:off x="7023654" y="2657332"/>
            <a:ext cx="779066" cy="77689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Arrow Connector 372">
            <a:extLst>
              <a:ext uri="{FF2B5EF4-FFF2-40B4-BE49-F238E27FC236}">
                <a16:creationId xmlns:a16="http://schemas.microsoft.com/office/drawing/2014/main" id="{C8844D10-1440-D3F9-C2F9-755AD16E30E5}"/>
              </a:ext>
            </a:extLst>
          </p:cNvPr>
          <p:cNvCxnSpPr>
            <a:cxnSpLocks/>
            <a:stCxn id="368" idx="3"/>
          </p:cNvCxnSpPr>
          <p:nvPr/>
        </p:nvCxnSpPr>
        <p:spPr>
          <a:xfrm flipH="1">
            <a:off x="7131844" y="3500589"/>
            <a:ext cx="670876" cy="59039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4" name="Oval 323">
            <a:extLst>
              <a:ext uri="{FF2B5EF4-FFF2-40B4-BE49-F238E27FC236}">
                <a16:creationId xmlns:a16="http://schemas.microsoft.com/office/drawing/2014/main" id="{44E5E052-30D7-6E5A-13D9-4105D0555B08}"/>
              </a:ext>
            </a:extLst>
          </p:cNvPr>
          <p:cNvSpPr>
            <a:spLocks noChangeAspect="1"/>
          </p:cNvSpPr>
          <p:nvPr/>
        </p:nvSpPr>
        <p:spPr bwMode="auto">
          <a:xfrm>
            <a:off x="7713230" y="334474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083E2D10-FF51-5914-BAB1-1D735A01966F}"/>
              </a:ext>
            </a:extLst>
          </p:cNvPr>
          <p:cNvSpPr/>
          <p:nvPr/>
        </p:nvSpPr>
        <p:spPr bwMode="auto">
          <a:xfrm rot="16200000">
            <a:off x="-1243074" y="2609127"/>
            <a:ext cx="3008047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user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2707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" grpId="0" animBg="1"/>
      <p:bldP spid="154" grpId="0" animBg="1"/>
      <p:bldP spid="89" grpId="0" animBg="1"/>
      <p:bldP spid="23" grpId="0" animBg="1"/>
      <p:bldP spid="24" grpId="0"/>
      <p:bldP spid="75" grpId="0" animBg="1"/>
      <p:bldP spid="76" grpId="0"/>
      <p:bldP spid="77" grpId="0" animBg="1"/>
      <p:bldP spid="78" grpId="0"/>
      <p:bldP spid="82" grpId="0" animBg="1"/>
      <p:bldP spid="95" grpId="0" animBg="1"/>
      <p:bldP spid="3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41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606" imgH="608" progId="TCLayout.ActiveDocument.1">
                  <p:embed/>
                </p:oleObj>
              </mc:Choice>
              <mc:Fallback>
                <p:oleObj name="think-cell Slide" r:id="rId7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33EDC085-C3CA-24F2-0636-A0994D4FCB99}"/>
              </a:ext>
            </a:extLst>
          </p:cNvPr>
          <p:cNvSpPr/>
          <p:nvPr/>
        </p:nvSpPr>
        <p:spPr bwMode="auto">
          <a:xfrm>
            <a:off x="2482391" y="3172666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3525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lthough an interesting pattern emerges when splitting users by their pre-shock levels of engagement…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7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DE5DB38-8CE8-2C13-7FEC-C35DD8FEBC8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000066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26DACE6-D7FA-17FD-6C31-1F40FB4777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33DA6-A5DB-472F-8D07-9D5C8E109686}" type="datetime'0''.''''''''''''''7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76D8AB5-9E4E-2524-0662-3314BD102E77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13204376"/>
              </p:ext>
            </p:extLst>
          </p:nvPr>
        </p:nvGraphicFramePr>
        <p:xfrm>
          <a:off x="641350" y="3090863"/>
          <a:ext cx="3794125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437AD97-57B6-BBF9-73F8-585BB5B4303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022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30EA3F-A8A1-4171-B568-50195B502D14}" type="datetime'''''''''J''''''u''''l'' ''''''20''''''''''''2''''0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1809A279-050E-86F5-AE6A-E73FC384501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1875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A9B4A9-0BE1-448D-ADD6-99A6FCD2AF47}" type="datetime'''''''''''''''S''''''''''''''''''ep'''' ''202''''''''''''0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00D65548-2365-7720-9A60-6E3898246EC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549400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FD7CDE-04CF-4935-94BC-06109287F67A}" type="datetime'''No''v'' 2''''''''02''0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E8CA8CC0-ACFE-1D9C-AADD-A14B1E1FB6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07645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AE0888-8FDB-40F5-AAA8-97E241DBF2A1}" type="datetime'''''''J''''''''''''''an'''' ''''2''0''''''''2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B52DB031-8FB4-9856-CB66-574BF1D747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333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99CE4A-3C32-44BE-A52A-4D0AC83CDA8D}" type="datetime'''''''''Ma''''r ''''2''''''''''''''''''''''''''0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E32E267-54DB-1445-6657-3AC1BAC2486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084513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70D8B7-1F00-4559-86F3-F4B2F7F43817}" type="datetime'''''''''''M''''''a''''y'' ''''2''''0''''2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306D033-ABF4-CA3C-67FD-9FD8CDAF398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3220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B08D2D-1C53-4657-AB43-3F29C905974E}" type="datetime'''''J''''u''''l'''''' 2''''''''0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F74EE02A-B9AD-0398-54BF-525B1283765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8534EA-993D-4412-8D41-141F035187CA}" type="datetime'''''''''''''''''''''''Se''p'''''' 2''''''''''''0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0775AFD1-D2AF-AFB5-2585-1325276C2E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4350" y="438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37F6BD-0F31-4711-AD5D-98787367D329}" type="datetime'''0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7D4A2BB5-7AE7-45AB-FDCA-AA43A0C2308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4350" y="4171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BDC40B-2EE8-48ED-8E2B-E8D0559D551E}" type="datetime'''0''''''''''''''.''''''''''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69" name="Text Placeholder 2">
            <a:extLst>
              <a:ext uri="{FF2B5EF4-FFF2-40B4-BE49-F238E27FC236}">
                <a16:creationId xmlns:a16="http://schemas.microsoft.com/office/drawing/2014/main" id="{8BD5DAA7-38D6-F2CB-90FB-C37278F90E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14350" y="3959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5E20919-EFF1-476A-A6BB-3FCAF919656C}" type="datetime'''''0''''''''''''''.''''''''4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BE9A1933-41FB-6702-AA0A-CC7D0E5C701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4350" y="3748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CF3045-62BD-4524-9C59-A54EC3B1C30D}" type="datetime'''0''''''''''''''''''.''''6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D80C7C63-9F83-E39D-A00D-AB370E37051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14350" y="3536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C24102-7A7E-47B4-A049-AA9E6888BD56}" type="datetime'''''''''''''''''''0''''''''''.''''''''''8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7990EDB3-76E8-6A1E-E1B9-FBB6FBAB579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4350" y="3324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08AB93-9CDC-4B0E-AC8B-B022E1D17D98}" type="datetime'''''''''''1''''''''''.''''0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DB77BD72-A361-6F47-F53A-B844933581E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14350" y="311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136FDB-5949-4BEA-A97C-34B3E0F4AAA9}" type="datetime'''''''''''''''''1''''''''''''''''.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E40B5C5-DBA7-1C97-6443-EE300C74F7B9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621034235"/>
              </p:ext>
            </p:extLst>
          </p:nvPr>
        </p:nvGraphicFramePr>
        <p:xfrm>
          <a:off x="4995863" y="1155700"/>
          <a:ext cx="3784600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FCD425EC-415B-A8BD-6D81-F7224EB0BBB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84738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293DC6-BB79-49BF-AD7D-68B0281E351B}" type="datetime'''''Ju''''''''''''''''''''l ''''2''''''''''''0''2''''''''''0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4F69A1F5-B827-AB50-8180-6A78981859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38480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5FC86A-E8F7-459E-B2BD-E838FC226085}" type="datetime'''''S''''''''e''p'''' 2''02''0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3905270A-ED49-047A-5C3F-1DF33C80060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0232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58792E-FF2C-414B-8EA9-CDC9E9B1382E}" type="datetime'''''''''''''''''Nov'' ''''202''0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7B199DE-3C52-FD3B-2006-988F2D38499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42620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09F857-A0E1-4213-8CCB-BB368D0DB65D}" type="datetime'''''''''''J''a''''''n'' ''2''''''''''0''''''''2''1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23E9B25C-BC89-28D6-498B-AC80A801083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2308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D26020-A1BB-45A6-AD74-93665A479EE8}" type="datetime'''''''''M''''''a''''''r'''''''''' 20''''''''''2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E294A5BF-6880-FE4C-1EFD-9494468CA02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4310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8691D8-2957-411C-B77F-A9175E0338AC}" type="datetime'''''''''''''''''''''M''''''a''''''''y 20''''''2''''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40693570-8066-5C81-AD60-9FFF4A73CE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9787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8F840C-96E1-49BD-AD94-5A91CDC4A9B4}" type="datetime'''''Ju''''''''''l'' ''''''''''''''''''''''2''''''''''0''2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3963EC8F-C569-F015-CC6C-1FB9F7D37A5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78838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57951F-1803-4F8C-8112-BFE83F59C8D9}" type="datetime'''''''S''''ep ''''''''''''2''''''''''02''''''''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F87AA7FD-5C98-A9DF-9C04-247B385F9E1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68863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DB56E1-2A1A-4FA9-86C1-070F64C0ACAF}" type="datetime'0.''''0''''''''''''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02" name="Text Placeholder 2">
            <a:extLst>
              <a:ext uri="{FF2B5EF4-FFF2-40B4-BE49-F238E27FC236}">
                <a16:creationId xmlns:a16="http://schemas.microsoft.com/office/drawing/2014/main" id="{CF69959A-B89B-3B78-EC9E-696CBA542A7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68863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C5311D-A9BA-4C29-8943-8FC7CDB5C4F0}" type="datetime'''''''''''0''''.''''''''1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570D93E2-09A8-6904-5C8D-37CD51E3AE1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68863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EDA03B6-9BEA-442B-9D7D-4ABC9892B792}" type="datetime'''0.''''''''''''''''2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6BDCB979-5E2E-AA1B-98F0-E59DBCA318F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68863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74269-FFEF-49D8-867C-A4F0444FE619}" type="datetime'''''''''''''''''''''''''0''.''''''''''''''3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BF1BB57B-DB98-A841-A035-070E8962E6E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68863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06BC40-0114-4A35-85D8-D282111B9656}" type="datetime'0''''''''''''.''''''4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11E621AA-E616-B30C-403D-CBBA4F3AF1F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68863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A15CB47-1231-437C-BF50-0FC068684269}" type="datetime'''0''''''''''''''''''''''''.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C4D36013-D891-CA1D-3452-B005F8E5A3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868863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E2674F-F562-49F2-8F3F-0D52EFEBE8FD}" type="datetime'''''''0.''''6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CAC3F-2764-36D0-FBC2-C87C2BC77B2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68863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8B1E2C-33B7-4E0F-BFAD-0232F8C091DE}" type="datetime'''0''''''''''''''''''''''''''''''.''''''''''''''''''7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86DCAB0-1434-EBAE-642B-CBFAC107D198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442886283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4129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875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621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367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EB3B2FE-C0FB-8944-5C82-2BCDA104393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27B879-5417-4213-87CC-8598AAE146D2}" type="datetime'''''5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1: Significant increase in engagement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ast-engaged pre-shock users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2: Increase and complementary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ss engaged pre-shock user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3: Complemented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Engaged pre-shock user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4: Substitution of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ost engaged pre-shock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3" y="1233221"/>
            <a:ext cx="1473821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26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45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137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344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05802718-45B9-FA95-F413-FF25A71C4AE4}"/>
              </a:ext>
            </a:extLst>
          </p:cNvPr>
          <p:cNvSpPr/>
          <p:nvPr/>
        </p:nvSpPr>
        <p:spPr bwMode="auto">
          <a:xfrm>
            <a:off x="720104" y="3175660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493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665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5078413" y="393342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544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3.03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68D453-CD13-CFB4-C956-9594CCCEDB60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0D9D8A-EEBC-D1DD-EBD6-9D4B1BE0ABCF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29096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3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06" imgH="608" progId="TCLayout.ActiveDocument.1">
                  <p:embed/>
                </p:oleObj>
              </mc:Choice>
              <mc:Fallback>
                <p:oleObj name="think-cell Slide" r:id="rId3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val 89">
            <a:extLst>
              <a:ext uri="{FF2B5EF4-FFF2-40B4-BE49-F238E27FC236}">
                <a16:creationId xmlns:a16="http://schemas.microsoft.com/office/drawing/2014/main" id="{752BF736-369E-5B6F-600D-B210E027857B}"/>
              </a:ext>
            </a:extLst>
          </p:cNvPr>
          <p:cNvSpPr>
            <a:spLocks noChangeAspect="1"/>
          </p:cNvSpPr>
          <p:nvPr/>
        </p:nvSpPr>
        <p:spPr bwMode="auto">
          <a:xfrm>
            <a:off x="5064132" y="3303938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24B7741-5834-F913-D761-7EF24A6A4CDA}"/>
              </a:ext>
            </a:extLst>
          </p:cNvPr>
          <p:cNvSpPr>
            <a:spLocks noChangeAspect="1"/>
          </p:cNvSpPr>
          <p:nvPr/>
        </p:nvSpPr>
        <p:spPr bwMode="auto">
          <a:xfrm>
            <a:off x="3976809" y="2065722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29576" y="1190625"/>
            <a:ext cx="138060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 engagement users seemed to get a wake-up call and started engaging </a:t>
            </a:r>
            <a:r>
              <a:rPr lang="en-US" i="1"/>
              <a:t>nearly 10x </a:t>
            </a:r>
            <a:r>
              <a:rPr lang="en-US"/>
              <a:t>more with Reddit following the sho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B0B718E0-62B0-4A20-F284-57A79BE337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660560"/>
              </p:ext>
            </p:extLst>
          </p:nvPr>
        </p:nvGraphicFramePr>
        <p:xfrm>
          <a:off x="736600" y="1184275"/>
          <a:ext cx="8043863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8102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54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9400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6050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8950" y="4165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AE2516-96E4-4E8D-96CD-8ECA75F29513}" type="datetime'''''''''''''''''''''''''''''''''0''.''''''''''''''''''''0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0</a:t>
            </a:fld>
            <a:endParaRPr lang="en-US" sz="10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491E54-958E-E24A-59FD-E4764EDF675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8950" y="3794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8078A6-4F2A-49D6-AE24-AD08FB6E5E68}" type="datetime'0''''''''''''''.''''''''''''''0''''''''5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5</a:t>
            </a:fld>
            <a:endParaRPr lang="en-US" sz="100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3D7D784-EF04-4151-E6AD-5308F0CE9C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8950" y="34226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E45AE-92E4-4EFE-82A3-71F7420443EF}" type="datetime'''''''0''''''''.''''''''''1''''''''''''''''''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0</a:t>
            </a:fld>
            <a:endParaRPr lang="en-US" sz="10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4ECD905-1BBB-E23D-1BAC-0268869AC8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8950" y="30495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940B55-932F-4A2F-A638-75948EC04896}" type="datetime'''''''0''''''''''.''''''''1''''''''''5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5</a:t>
            </a:fld>
            <a:endParaRPr lang="en-US" sz="100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B5D74550-36AD-DE0D-ABA0-15DC6A27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8950" y="2678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671371-EAEA-4247-9766-758A452EC58E}" type="datetime'''''''''''''''''''''0''.''2''''''''''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0</a:t>
            </a:fld>
            <a:endParaRPr lang="en-US" sz="10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9B39A7C-A170-B6FB-739E-EEEF2A85946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8950" y="2306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AE424-C4D3-4C42-8C63-7093677BDD3D}" type="datetime'''''''''''''''''''0''''.''''''''''''2''''5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5</a:t>
            </a:fld>
            <a:endParaRPr lang="en-US" sz="100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573DB5C-296D-E158-8A39-05CAB27AB57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8950" y="19351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80AB78-D4C1-42D1-8EA0-26DE951E2A54}" type="datetime'''0''''''.''''''''''''''3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0</a:t>
            </a:fld>
            <a:endParaRPr lang="en-US" sz="10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43E79880-8BA2-9E9C-9192-B7A2FA21E20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8950" y="1562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84C69D-4059-4409-A9E5-9BB36942F791}" type="datetime'''''''''0''''''.3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5</a:t>
            </a:fld>
            <a:endParaRPr lang="en-US" sz="100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5287522-240F-811F-6C29-18D076F278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8950" y="1190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D41F5D-3668-4F67-A484-3AE3A7B690DE}" type="datetime'''''''''''''''''0''''''.4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0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79475" y="1397000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79475" y="1600200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9475" y="1803400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3613" y="13589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3613" y="1562100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3613" y="1765300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85863" y="1325563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85863" y="1528763"/>
            <a:ext cx="2211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9688A36-2856-4193-B94D-5BD717B18DB4}" type="datetime'''Mean comm''ents on all oth''e''r'' sub''redd''i''''t''s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85863" y="1731963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1 of pre-shock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Complementary effect of the shock on other subreddit engagement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935167" y="3443892"/>
            <a:ext cx="968375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026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58531" y="2382838"/>
            <a:ext cx="3928269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42813" y="1820863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25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4056063"/>
            <a:ext cx="3577393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EE34B3E0-4D69-CC82-BBF9-F68D796A25DE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Low engaged users engaged much more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04A1908-5748-C749-4A91-4DBFD4AE2C84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33121DC4-48EE-BCE8-88C7-2E148AB88BAC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5A5071-A294-7C40-0F3A-3EBAB7A7965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Complementarity during the shocked perio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202DCAE-3197-3D73-605E-D9E7656B5721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47AAE3F-5F5C-CA15-8974-9027C10F4758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ignificantly increased post-shock engagement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70BC494-15E3-D92A-CB7B-D71F0AA7445D}"/>
              </a:ext>
            </a:extLst>
          </p:cNvPr>
          <p:cNvCxnSpPr>
            <a:cxnSpLocks/>
            <a:stCxn id="67" idx="7"/>
          </p:cNvCxnSpPr>
          <p:nvPr/>
        </p:nvCxnSpPr>
        <p:spPr>
          <a:xfrm flipV="1">
            <a:off x="4056912" y="1562100"/>
            <a:ext cx="479238" cy="51736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D9B3A717-8574-3936-0178-F5DABE408D0E}"/>
              </a:ext>
            </a:extLst>
          </p:cNvPr>
          <p:cNvCxnSpPr>
            <a:cxnSpLocks/>
            <a:stCxn id="67" idx="5"/>
          </p:cNvCxnSpPr>
          <p:nvPr/>
        </p:nvCxnSpPr>
        <p:spPr>
          <a:xfrm>
            <a:off x="4056912" y="2145825"/>
            <a:ext cx="479001" cy="53228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7FAB576B-B2D5-4C0C-7744-61B7E483EB20}"/>
              </a:ext>
            </a:extLst>
          </p:cNvPr>
          <p:cNvCxnSpPr>
            <a:cxnSpLocks/>
            <a:stCxn id="90" idx="3"/>
          </p:cNvCxnSpPr>
          <p:nvPr/>
        </p:nvCxnSpPr>
        <p:spPr>
          <a:xfrm flipH="1">
            <a:off x="4214812" y="3384041"/>
            <a:ext cx="863064" cy="53557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186534E8-0FF8-6CDD-090E-83201E9C9A71}"/>
              </a:ext>
            </a:extLst>
          </p:cNvPr>
          <p:cNvCxnSpPr>
            <a:cxnSpLocks/>
            <a:stCxn id="90" idx="0"/>
          </p:cNvCxnSpPr>
          <p:nvPr/>
        </p:nvCxnSpPr>
        <p:spPr>
          <a:xfrm flipV="1">
            <a:off x="5111056" y="2495349"/>
            <a:ext cx="112660" cy="80858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05304CF2-9D14-90F0-5107-4D7B6272793B}"/>
              </a:ext>
            </a:extLst>
          </p:cNvPr>
          <p:cNvSpPr>
            <a:spLocks noChangeAspect="1"/>
          </p:cNvSpPr>
          <p:nvPr/>
        </p:nvSpPr>
        <p:spPr bwMode="auto">
          <a:xfrm>
            <a:off x="3901063" y="19899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AA3FFBA-00E6-C941-86C6-2BFB177E4049}"/>
              </a:ext>
            </a:extLst>
          </p:cNvPr>
          <p:cNvSpPr>
            <a:spLocks noChangeAspect="1"/>
          </p:cNvSpPr>
          <p:nvPr/>
        </p:nvSpPr>
        <p:spPr bwMode="auto">
          <a:xfrm>
            <a:off x="4988386" y="3228192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A5CB45B-E3EE-7C12-CD8B-D21F6A7903B4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825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67" grpId="0" animBg="1"/>
      <p:bldP spid="60" grpId="0" animBg="1"/>
      <p:bldP spid="63" grpId="0"/>
      <p:bldP spid="64" grpId="0" animBg="1"/>
      <p:bldP spid="65" grpId="0"/>
      <p:bldP spid="69" grpId="0" animBg="1"/>
      <p:bldP spid="8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0&quot;/&gt;&lt;end val=&quot;0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4.41579511000000124454E+00&quot;&gt;&lt;m_msothmcolidx val=&quot;0&quot;/&gt;&lt;m_rgb r=&quot;FF&quot; g=&quot;57&quot; b=&quot;00&quot;/&gt;&lt;/elem&gt;&lt;elem m_fUsage=&quot;1.51446743089774238378E+00&quot;&gt;&lt;m_msothmcolidx val=&quot;0&quot;/&gt;&lt;m_rgb r=&quot;E6&quot; g=&quot;5B&quot; b=&quot;20&quot;/&gt;&lt;/elem&gt;&lt;elem m_fUsage=&quot;1.06677181699666578929E+00&quot;&gt;&lt;m_msothmcolidx val=&quot;0&quot;/&gt;&lt;m_rgb r=&quot;05&quot; g=&quot;A2&quot; b=&quot;DC&quot;/&gt;&lt;/elem&gt;&lt;elem m_fUsage=&quot;1.06418658283290024080E+00&quot;&gt;&lt;m_msothmcolidx val=&quot;0&quot;/&gt;&lt;m_rgb r=&quot;FF&quot; g=&quot;BF&quot; b=&quot;00&quot;/&gt;&lt;/elem&gt;&lt;elem m_fUsage=&quot;2.82429536481000165171E-01&quot;&gt;&lt;m_msothmcolidx val=&quot;0&quot;/&gt;&lt;m_rgb r=&quot;BF&quot; g=&quot;9B&quot; b=&quot;30&quot;/&gt;&lt;/elem&gt;&lt;elem m_fUsage=&quot;2.28767924549610118801E-01&quot;&gt;&lt;m_msothmcolidx val=&quot;0&quot;/&gt;&lt;m_rgb r=&quot;00&quot; g=&quot;33&quot; b=&quot;A0&quot;/&gt;&lt;/elem&gt;&lt;elem m_fUsage=&quot;2.05891132094649098594E-01&quot;&gt;&lt;m_msothmcolidx val=&quot;0&quot;/&gt;&lt;m_rgb r=&quot;FF&quot; g=&quot;D4&quot; b=&quot;00&quot;/&gt;&lt;/elem&gt;&lt;elem m_fUsage=&quot;1.85302018885184188735E-01&quot;&gt;&lt;m_msothmcolidx val=&quot;0&quot;/&gt;&lt;m_rgb r=&quot;C6&quot; g=&quot;00&quot; b=&quot;0D&quot;/&gt;&lt;/elem&gt;&lt;elem m_fUsage=&quot;1.50094635296999207030E-01&quot;&gt;&lt;m_msothmcolidx val=&quot;0&quot;/&gt;&lt;m_rgb r=&quot;D6&quot; g=&quot;1F&quot; b=&quot;2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aPdokOMx_p2SIJDhi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O5_x6HpcMyoq.f.Buh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G9PBMl9RYw5Z7MRlv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Wsh3i2g9XYpTtVcr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hkFBVyZtmkKov1u07R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z_jzqdRejmwvSd4GTa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4PYrQK3GLvIwDxuwEk5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VaA7Bz1PI_e2lzSYTj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bB7YXCgLT7Ag_ftVM4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6DhM1tUb7jop44Y_C1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D56DAzMx1zlhtofC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udYYDna3Y.bB_tngG2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RotsepJNTTOwsF1kx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KHeXVCvR0GfLtp8bA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xTrsB7eWpB3.WikvV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oj5gKpOgx86YXQcVs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bxXtsCKAxTFUblTW3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W20J0zFxDVHEDjp4S4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WBFS25HiokVaNIFsXv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FkszX7dIb7QuJS3WK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AFIEkPTMshtZweakT7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GrL3PlOdbR02u1_g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nO0gmznUlvRVwh4RF5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nvdIKuPxMk..N0XK6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6O6D_dpx6wVpqJ7t1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oZaxjzxFVG7eMMVDa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zkfZe7ZTFNEWnHd4xeV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khRDBF0xAB3Ks.8WUH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xjC3IncTvXXQ2Adjy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qHI1tGSnz52iU6t6c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WrhkuCrHZdtpNr6ByoO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dYyYISD8WUOIX4U5B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NRTZnRX4dah3v3qzuV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jXSJyWd57aPFMRQZLZJ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Rif20p.qwqCOGp5VGN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eIPh2e5r_XqjBWE2r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BAJ8Io6k_XRSjBlRj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5nemfiNmciDErqFW6J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dXmZn1cKw_WX2JS0TC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EWJSs.MSU6EvM1r9XI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WhbcSEnC5YfIWeaLu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wJsFXCdpenWIH6RQ.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fNyVwIHyKVdasgqki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AgHhtRl6jeRLLTV0Y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UfJvfrfpzPK19eNTH8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aFsOog4ihR3qNghPcv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RjpAZ1eUy3xNd.CNQc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KohNh3w3sPUo8aUK2p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xAa4YS3UjmCfNJkCk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CblU32mXf57oGX816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EmPHK1XmupI4HGbbSbF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_hWEcK0qYAdhyWF6pO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HI3zC9ac6NbBo52HU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sr2fMfzKlGV8pEx_Gqn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XuWWThQSHUiZCB10xV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ZE0Av.VWR.fN49w7l4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ozQBP8LwUL24yUlBN7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JchUUB8QSk7waZ3gg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0mZI4wwG_BiX5aTrLa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0UsWDso9NRAcqOdCUZ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Uy_IE64NOemADq8mi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P3QGNgw.9pXwKAkYD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WAwltIcJ9bPwEhhiNE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MthGq6twTdVuR4YAy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jwYly.x6QPRhdbJNmB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1MPw2yOHO6erVNSyJ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pMpTdMepmU20YKiLL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y.eyTlFkowBddeyqG5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1R0pXTlK5Jw6HgS.oo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6bKpRckxZuIcdY1X28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UxT1TL8qW6RBr0ddwO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PL07jBNHUPDutJd6X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9UHZdlP5.19O2eSvgV7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vd0FBc74NcuiYog_Io3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taKDbtxknErmYs_n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IQPcY_cW7aH4fZWojr3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a.scaO8pXyqpcrjYs6_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n7eGQ6o7t7VswQs_9X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H3IbGF.tdPG6630oq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clggXb2xSf9e4aidkw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C3mhT_5xTNIYWND3In_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7Refjs_vnAeZUreoak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uQuoYCBoKcnQgGMvT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0pEX6ahkC7ijsvf4m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Sln_9jKcsShNiliXDO1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zKodJ_34TJTNntd6is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W_PlD0nkVkjioxDSoZ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4zIAEHz_.PgE71x2rTo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91IiFiVrcvsDNIwfj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DgnDyZJJbXBSdH4taT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8jkRyyxbg4q39DK7.yb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vmFg6.F9gnrEYahs.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d37GAyuLDcqOW0w38S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o6m9bhDtz2.sOT3J3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g2h_IFroue3WnFiof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HiAKq9KE5tW7V5ELrP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sH4iX1ngYn2k2VG2O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dL1f.1vIStFeO8V6Rx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1dpWQdceJOuD59VlFD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be4pkr4VfnBkOs4A1X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8OTS0kB64ngVrNfSRz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jPzHFix58brxbVook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bO5H8E25ApVyf3cxFZ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bN0oYgO6Ku667w7_nP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7fYHcHJrdwdNzQ62iqv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ERTqKgeQIw8.OGGDY_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0KmaeT5jRpZABgdQwZ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xvvErO8lAyaNuaez9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0gLvk9ju_6ZdsHPz4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SsNfwpp4T60WjfM6Zp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bqLAGW6_SyYXqbg2WPo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l0PsRjhPAz7fZ4_7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_knnpdq_lhGBWwk04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E5UALEp3PPtsMEQEWV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WCGTWfHcZ7QGexLMJ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0WKore4vUHX3u9B9rTS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0h7SfT_1HDG4Rb9bp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3VCJzEtaLplu_ImUxa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ytmYMJDvel8OUPOHib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UAf8JoHvYF8KGkz6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EY5nBahIy38s9wqKV0_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seRKBJoZsrid3zqpZ4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_2F_J3V4pWXcad9qR8f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v.BW9fL2IzyHBzf_O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snZrA8FpglcQ5QetQi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8dElOcvJ2vLDsid5VS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GK5yHRJiU4qKlglxOd6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msY8PJq5MkAY6gOzz5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LZbxh_zst.dXQKBjV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raOhFqRFFnj5qZa2oz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fl61C0TxDEBmMEEsiF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bvjPoGvpsybrPQbwi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pB7SZMkQTNDDYzeCDh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B4bVrCovY2Q.CiQmnjM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SaTCCWlEPlcx.1zUo1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Ht0qGxk7UWNvc4J9a8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_kz0XXzAsjxCLmrg4W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8LwXAieg6QgIN72VvSk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ifKZval7HPa7cUpRhp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JiNVwzFCVI.pV0etB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N2Ugr_1WCr4c.xCLo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ZJh.ja5l35QMewo4oZ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yjOHTFnemXBiDSxmy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NwVBRWKWS5SyFiRhnmL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phJ68hhD.zT70IALCu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9WrzaNgZyz.CEM4OAM6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lN2u1F9HcQPlAL2My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LiMrbuo4cEiN0YBtr2g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anmgG9fh1BSovLsiP9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fIn3NAILi2gdpi64D8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BDWTch._ZVbXtlcIiRr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Kfxyn8TI7PWcyBEal6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wMb4bWfoRjVfm0tH0Oj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6T5hc7OgonS7Ia_jap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uv2vTLMspLG8a6JKpc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EKiqkGmTjW82eabtT6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1ZeXtpG923RVj.AWSIS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EP8MYKY0bveJ2e7BnJ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Dd6G0P32Z4fhzpZuOUa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K5PgCE_Zsvtij54Tmk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3Th7nBh3BmUt9JPIvW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bD1ix9kG7ODBT_xILw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XLOuqoMTa7xVG8x947N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rLAA8WLL5RIEGFZyu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WpF_E.xaBVMvDvj5o6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cfjAaspdQQapyPV37G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JNzVQxku2yOHFn9J7fb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Y7y6b4c4bSLeXY_dqf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SjO6_zFUSZ3IbKsG.i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.HnFBvz1DjPunz5Ys.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HCpuaVOiNPpFSkGSw2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Gjewog9Ms3jdnvHioS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6ODb3yFG2AN0La4Ac4a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W_5cLegPKdXHNIJ8Zi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Wc.2_EWa2tWhg5I9xm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UjXV6Sw4OXeE4bsI.2W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Ml7DNpfLQNFD3Pcy_W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_UO42RzU2zMJKBSBIDJ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32Hz3wL1k8o2BL438F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rab2dtAoL87cNsh6kb_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duL2x5PDdTX0Mc4fDs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6zbXTcY.MO6sL.241Mr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tIRPKywQpiorkEN95Z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RBYVHrfInabLSTqpKT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chvUZ5Euu3xN26k7H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4CYAujsLTSpgkUPggd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dkwFaQQrgPsGZB2yDz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JmvPtu.srYaLjI4gre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Tc7A73vV86w5WVXPO3X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zOiuViVe.vP8Xb1lTR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VYM1zPcFWvw9AzLfzp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Qasrjtha0kjq_IEti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QoeEmw2_2c3XHDpncD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qLNVdIIz0yZYT1ZNsf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hrd2.Iiba6bh1OtnWS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K1HAfHejf63JM1cYs0o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6UVgT.LC1zWRWPtUM0H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iSEyNbB5tAx0jePp3dd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wENOwKRE16rWqac3gX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bklt8Tbcuu6T5iwz.zb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Vl8F4iV5whZUMIFL2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ni3AcAP27ebN2gRhgku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FVlwGY0zgMC3Gsvb8as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FZ0V22udhttQxjGhp3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QneH3JA_5aFjLlK0wo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PZStedgR6SDV35YECX.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LY2NRGpXOUSpLnfve1v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0t4MePufMf1RJajRAU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itoXXKuvyAT1MPKOB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XgrcN2cd6.sG5zl.j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G0m7zpYQwMRtOK7bYYz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crltk5ThWXapkyfJG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BZRMrELhMtsLDNd1ri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D0oUMhn_zcgYzaeoXk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6vfhCrj_zYx6fS4L1W7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cpnO.WJ1o90ZiVg_dS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7.AinBuGpzKhvN0Noo5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iFpQNwnL_6fTRQsTHi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.GYP4JuUNtvSFBebcX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aahlR042AD5.VCeirb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xzFPUJDIcYEktLA4YYg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8lsHtOl8WhF4cFyuWv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4jrDcs0zNt5yahsPj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2i.KiDBIq0XJvxSSZi3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18a3vrnITFHKS.ztRO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8W8cy_yMiZorNVwtUmQ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1AoNwaYJQzLXSP.VAU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dk6kZUgqasDldw5itf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R1aOWoHEiaB_mk8Ems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T1kSx5sF8uZUcngLYS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9eX_fzhiSp9BwOSCZ1h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sKe6O7wGqqYXkKDYg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3AeKm53VWrerOV5UJ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o0W7tjnTdJS8sI78TQ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NTejHj_9qGS206l83y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fWFYPx46m6ds9eKgE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oXpCVflUT_H4ksZ1C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gxIYGbNZLhdHTU0vb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QGY7voXd84ibmzPeO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dPOFMcBdxBeSns1yV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gZArqDXru0gFcpjqPb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YMt1_2DLmFZPuY8Lk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94VW2gW5DPOwIkits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SAybFXl4Xrwr1Eg2h8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X39t0vvKN2aYIBy9fL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eaW9tOjRe6jnplhQN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GupmKiUt1y9kdhBcm6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q5yCe8bhwbc9DxdRp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0j_.J.pfnEDmQQqcF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1TD60uQzWjQBJ7jw9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J1fMx6jWQ6Lc8JcZk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.DvfmYkgXCzKxGBk47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Ba9BbnDHSHGI2SGn0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TYQLDbiS5c6Onu3CX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4aZDNzezInhDe95id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B6L4mR_GqG_XyfFoi3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B8l8f6ct3whSqubLoO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Txn1lunwe2N0Re.ub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NTzfDD2lxqR2_B4TA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kK5.hOFKQ6jz_QFjbq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Lkt.FSet0xkHnmxhYn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zIXHgyu6N0bCloGUt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hZBo2YwLHvg5aYLsG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HxuXaw73CEQ2pbPf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U7jKzn9ekveL7N0nB_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m5Rj6Qwv.4rooDD_9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5ST1JlweiubzgeQv5Y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fe3cexNeWW5MV1wu3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dHj2sbDH38TIRaOWe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Cb5dRfybpFOBWJmjpP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mlTcio5ZfRIDRrKww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SMPmzCstTVuCGEEy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DFzoWjmu9HO1eA6LA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e.L_q5iejiaRPSo_Vt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3oyFYMVqSL8hGuC6Y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2LTh9b65u3qCbH5bh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HrNeZ2DYxoC__yE4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rGJhkTANAgC42Pggr2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vJDiV4j7O2gdsM7Wm27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MsrbQ1W6XOMfkLLkIS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wlaQ_lWRHWMJC_e7i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8KyFmyqgbTaa_R.ng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efyRKoigL74y3lXuj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I.Pypau2MU54SqTjm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kLhcCzGbVD4SetzNtg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u08bvQ5C4P9EHHVpx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EK3jdV9xGq6d64Y7u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UD89SsUJAokwdkvSj6bA"/>
</p:tagLst>
</file>

<file path=ppt/theme/theme1.xml><?xml version="1.0" encoding="utf-8"?>
<a:theme xmlns:a="http://schemas.openxmlformats.org/drawingml/2006/main" name="Keystone_2016">
  <a:themeElements>
    <a:clrScheme name="Keystone Color Palette 1">
      <a:dk1>
        <a:srgbClr val="3D505A"/>
      </a:dk1>
      <a:lt1>
        <a:srgbClr val="FFFFFF"/>
      </a:lt1>
      <a:dk2>
        <a:srgbClr val="000000"/>
      </a:dk2>
      <a:lt2>
        <a:srgbClr val="7FC349"/>
      </a:lt2>
      <a:accent1>
        <a:srgbClr val="3D505A"/>
      </a:accent1>
      <a:accent2>
        <a:srgbClr val="7A868E"/>
      </a:accent2>
      <a:accent3>
        <a:srgbClr val="9DA6AB"/>
      </a:accent3>
      <a:accent4>
        <a:srgbClr val="004E6F"/>
      </a:accent4>
      <a:accent5>
        <a:srgbClr val="00AEEF"/>
      </a:accent5>
      <a:accent6>
        <a:srgbClr val="6DCFF6"/>
      </a:accent6>
      <a:hlink>
        <a:srgbClr val="00AEEF"/>
      </a:hlink>
      <a:folHlink>
        <a:srgbClr val="00AEE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mpd="sng">
          <a:noFill/>
          <a:headEnd/>
          <a:tailEnd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>
          <a:defRPr sz="1200" kern="1200" dirty="0" smtClean="0">
            <a:solidFill>
              <a:srgbClr val="000000"/>
            </a:solidFill>
            <a:ea typeface="Tahoma"/>
            <a:cs typeface="Tahoma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ystone Strategy template_wide" id="{4A207043-98F5-4792-9ED8-7DE83214BEE8}" vid="{FCAB7A3E-C332-46A0-9EE5-60B84A436A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3D2704B6E3F4FBA5AA0FAF03F0328" ma:contentTypeVersion="9" ma:contentTypeDescription="Create a new document." ma:contentTypeScope="" ma:versionID="66b190b1528077e35f16dba9367d6236">
  <xsd:schema xmlns:xsd="http://www.w3.org/2001/XMLSchema" xmlns:xs="http://www.w3.org/2001/XMLSchema" xmlns:p="http://schemas.microsoft.com/office/2006/metadata/properties" xmlns:ns3="4ed100de-1377-4b33-a597-721b61c9e03c" xmlns:ns4="26382f21-48c2-451e-8429-bdee32f3307f" targetNamespace="http://schemas.microsoft.com/office/2006/metadata/properties" ma:root="true" ma:fieldsID="1880ceb17e62d2a77b2aa5b9ec5b7294" ns3:_="" ns4:_="">
    <xsd:import namespace="4ed100de-1377-4b33-a597-721b61c9e03c"/>
    <xsd:import namespace="26382f21-48c2-451e-8429-bdee32f330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100de-1377-4b33-a597-721b61c9e0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82f21-48c2-451e-8429-bdee32f3307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ed100de-1377-4b33-a597-721b61c9e03c" xsi:nil="true"/>
  </documentManagement>
</p:properties>
</file>

<file path=customXml/itemProps1.xml><?xml version="1.0" encoding="utf-8"?>
<ds:datastoreItem xmlns:ds="http://schemas.openxmlformats.org/officeDocument/2006/customXml" ds:itemID="{6485AFB0-48F9-4583-B6AA-035904B30A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B18E0D-9AEE-4CC2-BF75-80CAC54462BF}">
  <ds:schemaRefs>
    <ds:schemaRef ds:uri="26382f21-48c2-451e-8429-bdee32f3307f"/>
    <ds:schemaRef ds:uri="4ed100de-1377-4b33-a597-721b61c9e0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2791CE-5588-4C76-8AC7-0B0D4461CFD4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26382f21-48c2-451e-8429-bdee32f3307f"/>
    <ds:schemaRef ds:uri="http://purl.org/dc/dcmitype/"/>
    <ds:schemaRef ds:uri="4ed100de-1377-4b33-a597-721b61c9e03c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stone Strategy template_wide</Template>
  <TotalTime>139</TotalTime>
  <Words>2934</Words>
  <Application>Microsoft Office PowerPoint</Application>
  <PresentationFormat>On-screen Show (16:9)</PresentationFormat>
  <Paragraphs>673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mbria Math</vt:lpstr>
      <vt:lpstr>Lucida Grande</vt:lpstr>
      <vt:lpstr>Microsoft Sans Serif</vt:lpstr>
      <vt:lpstr>Keystone_2016</vt:lpstr>
      <vt:lpstr>think-cell Slide</vt:lpstr>
      <vt:lpstr>Engagement Substitution on Social Forums: The Case of Meme Stocks and Reddit</vt:lpstr>
      <vt:lpstr>Community size in a social network is mainly tied to the extensive margin of value creation; Engagement is often triggered by interest waves</vt:lpstr>
      <vt:lpstr>The GameStop short-squeeze was attributed to WSB users which triggered increased outsider attention for WSB</vt:lpstr>
      <vt:lpstr>The meme stock mania drove unprecedented engagement on Reddit</vt:lpstr>
      <vt:lpstr>We can observe two sets of existing Reddit users of interest based on when they commented on r/WSB and other Subreddits</vt:lpstr>
      <vt:lpstr>PowerPoint Presentation</vt:lpstr>
      <vt:lpstr>The pooled results show that the shock on r/wallstreetbets was largely transient: engagement increased rapidly but died down quickly after</vt:lpstr>
      <vt:lpstr>Although an interesting pattern emerges when splitting users by their pre-shock levels of engagement…</vt:lpstr>
      <vt:lpstr>Low engagement users seemed to get a wake-up call and started engaging nearly 10x more with Reddit following the shock</vt:lpstr>
      <vt:lpstr>However, the opposite was true for the engaged users who substituted during the shock and engaged less following the shock</vt:lpstr>
      <vt:lpstr>So far we’ve looked at a broad group of users – what happens if we look at pre-existing r/wallstreetbets users v. new r/wallstreetbets users?</vt:lpstr>
      <vt:lpstr>Comparison of Groups A and B (pre- and post-shock r/WSB commenters) shows only a few noticeable differences…</vt:lpstr>
      <vt:lpstr>…however, when splitting by engagement metrics, it’s clear there was a more pronounced effect on low engagement Group B commenters</vt:lpstr>
      <vt:lpstr>Additionally, when new users joined during the shock period, they continued to engage following the shock, at significant levels</vt:lpstr>
      <vt:lpstr>Appendix</vt:lpstr>
      <vt:lpstr>Data used for the analysis effectively cover the entire post and comment history of Reddit, from Pushshift.io</vt:lpstr>
      <vt:lpstr>To examine changes to user behavior over time, we examine three core periods, pre-shock, shock, and post-shock</vt:lpstr>
      <vt:lpstr>Regression results confirm our initial findings from the plots…</vt:lpstr>
      <vt:lpstr>Specifically, less engaged users complemented their engagement on r/wallstreetbets with engagement on other subreddits during the shock</vt:lpstr>
      <vt:lpstr>However, the most engaged users substituted their engagement during the shock</vt:lpstr>
      <vt:lpstr>Additionally, post-shock engagement is highly dependent on pre-shock levels of engagement…</vt:lpstr>
      <vt:lpstr>…with the most engaged users substituting their enga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design examples</dc:title>
  <dc:creator>Evangelos Constantinou</dc:creator>
  <cp:lastModifiedBy>Keystone Strategy</cp:lastModifiedBy>
  <cp:revision>9</cp:revision>
  <dcterms:created xsi:type="dcterms:W3CDTF">2023-08-29T02:22:23Z</dcterms:created>
  <dcterms:modified xsi:type="dcterms:W3CDTF">2023-11-07T07:2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03D2704B6E3F4FBA5AA0FAF03F0328</vt:lpwstr>
  </property>
</Properties>
</file>